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modernComment_2D3_3A10AB93.xml" ContentType="application/vnd.ms-powerpoint.comment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7.xml" ContentType="application/vnd.openxmlformats-officedocument.presentationml.tags+xml"/>
  <Override PartName="/ppt/notesSlides/notesSlide16.xml" ContentType="application/vnd.openxmlformats-officedocument.presentationml.notesSlide+xml"/>
  <Override PartName="/ppt/tags/tag28.xml" ContentType="application/vnd.openxmlformats-officedocument.presentationml.tags+xml"/>
  <Override PartName="/ppt/notesSlides/notesSlide17.xml" ContentType="application/vnd.openxmlformats-officedocument.presentationml.notesSlide+xml"/>
  <Override PartName="/ppt/tags/tag29.xml" ContentType="application/vnd.openxmlformats-officedocument.presentationml.tags+xml"/>
  <Override PartName="/ppt/notesSlides/notesSlide18.xml" ContentType="application/vnd.openxmlformats-officedocument.presentationml.notesSlide+xml"/>
  <Override PartName="/ppt/comments/modernComment_702_F4E958FD.xml" ContentType="application/vnd.ms-powerpoint.comments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8" r:id="rId5"/>
    <p:sldMasterId id="2147483711" r:id="rId6"/>
  </p:sldMasterIdLst>
  <p:notesMasterIdLst>
    <p:notesMasterId r:id="rId28"/>
  </p:notesMasterIdLst>
  <p:handoutMasterIdLst>
    <p:handoutMasterId r:id="rId29"/>
  </p:handoutMasterIdLst>
  <p:sldIdLst>
    <p:sldId id="1787" r:id="rId7"/>
    <p:sldId id="777" r:id="rId8"/>
    <p:sldId id="728" r:id="rId9"/>
    <p:sldId id="708" r:id="rId10"/>
    <p:sldId id="639" r:id="rId11"/>
    <p:sldId id="980" r:id="rId12"/>
    <p:sldId id="1803" r:id="rId13"/>
    <p:sldId id="1802" r:id="rId14"/>
    <p:sldId id="555" r:id="rId15"/>
    <p:sldId id="1790" r:id="rId16"/>
    <p:sldId id="1791" r:id="rId17"/>
    <p:sldId id="1796" r:id="rId18"/>
    <p:sldId id="1797" r:id="rId19"/>
    <p:sldId id="723" r:id="rId20"/>
    <p:sldId id="266" r:id="rId21"/>
    <p:sldId id="771" r:id="rId22"/>
    <p:sldId id="947" r:id="rId23"/>
    <p:sldId id="1793" r:id="rId24"/>
    <p:sldId id="1795" r:id="rId25"/>
    <p:sldId id="1794" r:id="rId26"/>
    <p:sldId id="718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C79DCAF-1B77-4E0E-ADA3-2D07495F1716}">
          <p14:sldIdLst>
            <p14:sldId id="1787"/>
            <p14:sldId id="777"/>
            <p14:sldId id="728"/>
            <p14:sldId id="708"/>
            <p14:sldId id="639"/>
            <p14:sldId id="980"/>
            <p14:sldId id="1803"/>
            <p14:sldId id="1802"/>
            <p14:sldId id="555"/>
            <p14:sldId id="1790"/>
          </p14:sldIdLst>
        </p14:section>
        <p14:section name="Graveyard" id="{8748DBD1-A4DE-46CB-BC13-D1CA64382078}">
          <p14:sldIdLst>
            <p14:sldId id="1791"/>
            <p14:sldId id="1796"/>
            <p14:sldId id="1797"/>
            <p14:sldId id="723"/>
            <p14:sldId id="266"/>
            <p14:sldId id="771"/>
            <p14:sldId id="947"/>
            <p14:sldId id="1793"/>
            <p14:sldId id="1795"/>
            <p14:sldId id="1794"/>
            <p14:sldId id="71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DDD111-8D18-FE5E-D203-BFB2F293EDE6}" name="Lee-Robinson, Alexandria" initials="LRA" userId="S::aleerobinson@deloitte.com::94de24fc-46e2-4908-b6da-5097f92614c7" providerId="AD"/>
  <p188:author id="{C621408A-FB09-E36D-71D3-1B2269CFCB5E}" name="Akinlabi, Tolulope Elijah" initials="ATE" userId="S::takinlabi@deloitte.com::adcc97ed-2fb4-41e6-bd52-4ce777ac2c2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8390"/>
    <a:srgbClr val="86BC25"/>
    <a:srgbClr val="FFFFFF"/>
    <a:srgbClr val="26890D"/>
    <a:srgbClr val="43B02A"/>
    <a:srgbClr val="DA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D10444-D937-4B15-B82C-F428EA4CA617}" v="1196" dt="2023-12-08T23:58:02.564"/>
    <p1510:client id="{CC3D4275-7478-4229-8244-26692650C612}" v="2567" dt="2023-12-14T21:26:04.98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372" autoAdjust="0"/>
  </p:normalViewPr>
  <p:slideViewPr>
    <p:cSldViewPr snapToGrid="0">
      <p:cViewPr varScale="1">
        <p:scale>
          <a:sx n="58" d="100"/>
          <a:sy n="58" d="100"/>
        </p:scale>
        <p:origin x="9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3C2-46BC-9B7A-A2BA8FCD1CDB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3C2-46BC-9B7A-A2BA8FCD1CDB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3C2-46BC-9B7A-A2BA8FCD1CDB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F3C2-46BC-9B7A-A2BA8FCD1CDB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</c:v>
                </c:pt>
                <c:pt idx="1">
                  <c:v>0.3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3C2-46BC-9B7A-A2BA8FCD1C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omments/modernComment_2D3_3A10AB9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C742F5E-7089-44D6-BDED-F4991BA6A9AD}" authorId="{1EDDD111-8D18-FE5E-D203-BFB2F293EDE6}" status="resolved" created="2023-08-17T18:19:19.004" complete="100000">
    <pc:sldMkLst xmlns:pc="http://schemas.microsoft.com/office/powerpoint/2013/main/command">
      <pc:docMk/>
      <pc:sldMk cId="974171027" sldId="723"/>
    </pc:sldMkLst>
    <p188:txBody>
      <a:bodyPr/>
      <a:lstStyle/>
      <a:p>
        <a:r>
          <a:rPr lang="en-US"/>
          <a:t>Change to Bullets</a:t>
        </a:r>
      </a:p>
    </p188:txBody>
  </p188:cm>
</p188:cmLst>
</file>

<file path=ppt/comments/modernComment_702_F4E958F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86FE4C9-F4A1-471C-9ECF-8693A1842CD7}" authorId="{1EDDD111-8D18-FE5E-D203-BFB2F293EDE6}" status="resolved" created="2023-08-17T18:27:42.662" complete="100000">
    <pc:sldMkLst xmlns:pc="http://schemas.microsoft.com/office/powerpoint/2013/main/command">
      <pc:docMk/>
      <pc:sldMk cId="4108933373" sldId="1794"/>
    </pc:sldMkLst>
    <p188:txBody>
      <a:bodyPr/>
      <a:lstStyle/>
      <a:p>
        <a:r>
          <a:rPr lang="en-US"/>
          <a:t>Change up plot types</a:t>
        </a:r>
      </a:p>
    </p188:txBody>
  </p188:cm>
  <p188:cm id="{36D18D7E-1E4F-4676-A2EE-F1C51016E768}" authorId="{1EDDD111-8D18-FE5E-D203-BFB2F293EDE6}" status="resolved" created="2023-08-17T18:29:14.223" complete="100000">
    <pc:sldMkLst xmlns:pc="http://schemas.microsoft.com/office/powerpoint/2013/main/command">
      <pc:docMk/>
      <pc:sldMk cId="4108933373" sldId="1794"/>
    </pc:sldMkLst>
    <p188:txBody>
      <a:bodyPr/>
      <a:lstStyle/>
      <a:p>
        <a:r>
          <a:rPr lang="en-US"/>
          <a:t>Take out underscores, change naming conventions</a:t>
        </a:r>
      </a:p>
    </p188:txBody>
  </p188:cm>
  <p188:cm id="{BDFA4A0F-A9C2-4BF3-AFFC-61CAF02548D5}" authorId="{1EDDD111-8D18-FE5E-D203-BFB2F293EDE6}" status="resolved" created="2023-08-17T18:30:03.832" complete="100000">
    <pc:sldMkLst xmlns:pc="http://schemas.microsoft.com/office/powerpoint/2013/main/command">
      <pc:docMk/>
      <pc:sldMk cId="4108933373" sldId="1794"/>
    </pc:sldMkLst>
    <p188:txBody>
      <a:bodyPr/>
      <a:lstStyle/>
      <a:p>
        <a:r>
          <a:rPr lang="en-US"/>
          <a:t>Show the revenue side of thing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1D49F89-FFB0-BEC2-9E4A-5F144518E6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30B4AD-668E-3766-4E41-B6CC4ED8981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D39B96-1706-4771-827E-17D2E778C676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6729A7-07B1-C28F-C38A-1C73262BD8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B688E-D7A5-57B1-C559-3FC266E197C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8635E-14A3-45F8-8639-46FCB0336E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7334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E9B520-E397-4153-AE87-0C1EEA9E3A44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8E887B-2327-4376-9176-9A0B26D973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3162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8E887B-2327-4376-9176-9A0B26D9734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32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7116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103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5960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/>
              <a:t>Diana</a:t>
            </a:r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1743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le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8E887B-2327-4376-9176-9A0B26D9734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9882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ia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8E887B-2327-4376-9176-9A0B26D9734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1789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Hanwen</a:t>
            </a:r>
            <a:r>
              <a:rPr lang="en-US"/>
              <a:t>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7606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Hanwen</a:t>
            </a:r>
            <a:r>
              <a:rPr lang="en-US"/>
              <a:t>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653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Brandon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535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algn="l">
              <a:buFont typeface="Arial" panose="020B0604020202020204" pitchFamily="34" charset="0"/>
              <a:buNone/>
            </a:pPr>
            <a:r>
              <a:rPr lang="en-US" b="0" i="0">
                <a:solidFill>
                  <a:srgbClr val="1F2328"/>
                </a:solidFill>
                <a:effectLst/>
                <a:latin typeface="-apple-system"/>
              </a:rPr>
              <a:t>Brandon: How your solution solves the business problem, How much better your solution is than the baseline/status quo, What impacts your confidence in the solution, limitations</a:t>
            </a:r>
            <a:br>
              <a:rPr lang="en-US"/>
            </a:br>
            <a:endParaRPr lang="en-US" b="0" i="0">
              <a:solidFill>
                <a:srgbClr val="1F2328"/>
              </a:solidFill>
              <a:effectLst/>
              <a:latin typeface="-apple-system"/>
            </a:endParaRPr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701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8E887B-2327-4376-9176-9A0B26D9734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821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547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5139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/>
              <a:t>Deep Neural Network :</a:t>
            </a:r>
            <a:r>
              <a:rPr lang="en-US" sz="800" dirty="0"/>
              <a:t> composed of multiple layers of interconnected nodes used to learn and represent complex data patterns.</a:t>
            </a:r>
          </a:p>
          <a:p>
            <a:r>
              <a:rPr lang="en-US" sz="800" b="1" dirty="0"/>
              <a:t>Logistic Regression : </a:t>
            </a:r>
            <a:r>
              <a:rPr lang="en-US" sz="800" b="0" dirty="0"/>
              <a:t>used it for binary classification to predict the probability of the machine failure</a:t>
            </a:r>
            <a:r>
              <a:rPr lang="en-US" sz="800" b="1" dirty="0"/>
              <a:t>.</a:t>
            </a:r>
          </a:p>
          <a:p>
            <a:r>
              <a:rPr lang="en-US" sz="800" b="1" dirty="0"/>
              <a:t>Decision Tree : </a:t>
            </a:r>
            <a:r>
              <a:rPr lang="en-US" sz="800" b="0" dirty="0"/>
              <a:t>Used it to split data into subsets recursively while minimizing entropy : disorderliness of data.</a:t>
            </a:r>
          </a:p>
          <a:p>
            <a:r>
              <a:rPr lang="en-US" sz="800" b="1" dirty="0"/>
              <a:t>Support Vector Machine : </a:t>
            </a:r>
            <a:r>
              <a:rPr lang="en-US" sz="800" b="0" dirty="0"/>
              <a:t>used it to classify the data and separate the data into different distinct data point classes.</a:t>
            </a:r>
          </a:p>
          <a:p>
            <a:r>
              <a:rPr lang="en-US" sz="800" b="1" dirty="0"/>
              <a:t>Random Forest : </a:t>
            </a:r>
            <a:r>
              <a:rPr lang="en-US" sz="800" b="0" dirty="0"/>
              <a:t>Similar to decision tree, just multiple decision tree and combines the results of the decision tree to enhance the accuracy.</a:t>
            </a:r>
            <a:endParaRPr lang="en-US" sz="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8E887B-2327-4376-9176-9A0B26D9734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481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3909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30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8849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Layla 2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296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871796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154848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284960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876456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759932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1711846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256775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3 Deloitte Development LLC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14051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55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00368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84090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1015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8045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8420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2014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52950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438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5014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516651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38563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86009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17968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3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70320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582802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3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8630854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2C4D3-45C2-0813-7EEB-2C77566522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C30B42-4E56-B4DD-1E80-BBB54E9BEB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450C43-334C-B3B9-673A-6F16F66FE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1DD8D9-AD6C-BE92-F822-199772EB4A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6EB0A3-0AF6-29B1-F1B8-BA0D05CE8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4983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8CF31-BE6D-4811-3684-D50D10874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49F74-125C-4A3A-A60D-A13B0BCE90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CF3D34-8C2A-CE61-3BB5-E078425F9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EB0CD4-5423-B1D6-C7CC-D82D665AD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300792-414A-4965-C85A-B209A97B6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9771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0F063-5765-5BF3-D466-109A42EA1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D50C54-6B5E-C999-ED3F-6B868ACF44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1E1DA6-D6AA-CA23-9F3B-0F5A2D4DC8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B8F382-CD1F-4070-AD3C-7A3EB5033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5869BF-823B-2512-8025-43958959E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2498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53FB0-44AC-1551-37E2-DA61239C5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7D7352-F24A-1346-0A54-EFD3799E17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4BF728-B12F-014D-F5FD-635C57257A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324EAF-935D-7523-1C2F-21CB777E1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71B1FB-F71E-DF49-80C9-A54113E68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5C3EB0-23F0-36C9-1367-9DE1F8357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7219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C6FF1-9165-CBD1-982C-1D15C67CB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32BA7F-6FC8-73C2-2F4D-AE9E6E16A5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36BDA9-F8E6-36AF-95F5-349FFA99B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6D7CF3-4F13-1FC0-6007-AF117B97C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82970-581C-75EC-A1A0-2CA7205D37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1F352C-4D7B-75F2-2B0E-FE6BAD22F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90CBF2-C7AC-37D9-1536-76CFC7600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6963F5E-99AA-6D26-35D1-73F0E0208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78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ECE51-9823-003D-B685-23396F843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DCA77F-9980-41E5-6B2D-B002DF556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7DC8E5-0923-E5E5-840F-6DD6BB813A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48D081-27CC-A3AB-07B5-035285B56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7312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61B3B6-DAB6-AF37-0DC5-136415E78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75FA5F-7634-D4E7-83A5-D2A38567E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467571-E311-7281-D26E-60551415F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2685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DD65EE-6BD0-94C1-1192-BB83530F1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C18EA1-E994-73FF-34A1-03C4F8C0EE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DC8D7-1867-D9B9-D6DD-93487A07EE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38E68C-CDA0-38AB-3E05-B137D5DA26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35459A-05FE-0DA0-7A8B-84DF1C89C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7A9AC4-0F23-0901-092D-04DC85A51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9147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5CEEC-95AF-06C7-B804-6C121A88E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39442CE-C4A7-2638-0E5E-1324AF85FE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45B775-27F1-DC61-C3BF-E1FDA87385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67EC3A-C4E6-5538-A7B8-4995FF415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E2E80A-6D1B-0FA8-A577-B3C33251A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183476-9F0D-2AF9-9B9F-A27C9BCCA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855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3540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524610-FA95-097B-8BBA-72961E6B5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14A057-B2CD-DE1A-6643-23ED54415E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CB4E80-887C-E9ED-912D-F70E7A799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3BC6AA-92D6-42F3-77F5-BE510A510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E93E9A-8758-90DC-4249-3798B1ED2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5535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161F10E-3420-853F-0A49-2184D4768B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EE9297-9C56-0169-CB01-E82CEB06B6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2BED5B-7CB1-2F0F-F99C-B7F03F44FE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D5707F-ABCE-AE92-B31F-842A62BFA0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9AC48D-9421-9A7D-0B7D-EAF496BAA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0169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463296" y="351251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6853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0064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078967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空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8AC9E84-AA29-3D43-8913-C9E7FFAD9428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. For information, contact Deloitte Glob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4A853B-3DF7-9E41-97FD-305CBF0C7280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vanced graphics timesav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669115-3258-2840-90D8-5DE7535D3574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5A628D-2650-AD48-804E-8BA2A0597108}"/>
              </a:ext>
            </a:extLst>
          </p:cNvPr>
          <p:cNvSpPr txBox="1"/>
          <p:nvPr userDrawn="1"/>
        </p:nvSpPr>
        <p:spPr>
          <a:xfrm>
            <a:off x="654049" y="66294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. For information, contact Deloitte Global</a:t>
            </a:r>
          </a:p>
        </p:txBody>
      </p:sp>
    </p:spTree>
    <p:extLst>
      <p:ext uri="{BB962C8B-B14F-4D97-AF65-F5344CB8AC3E}">
        <p14:creationId xmlns:p14="http://schemas.microsoft.com/office/powerpoint/2010/main" val="235818388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空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8AC9E84-AA29-3D43-8913-C9E7FFAD9428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. For information, contact Deloitte Glob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4A853B-3DF7-9E41-97FD-305CBF0C7280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vanced graphics timesav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669115-3258-2840-90D8-5DE7535D3574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6"/>
          <p:cNvSpPr>
            <a:spLocks noEditPoints="1"/>
          </p:cNvSpPr>
          <p:nvPr userDrawn="1"/>
        </p:nvSpPr>
        <p:spPr bwMode="auto">
          <a:xfrm>
            <a:off x="1672440" y="696562"/>
            <a:ext cx="8893960" cy="3722142"/>
          </a:xfrm>
          <a:custGeom>
            <a:avLst/>
            <a:gdLst>
              <a:gd name="T0" fmla="*/ 9032 w 9534"/>
              <a:gd name="T1" fmla="*/ 2729 h 3990"/>
              <a:gd name="T2" fmla="*/ 8371 w 9534"/>
              <a:gd name="T3" fmla="*/ 2925 h 3990"/>
              <a:gd name="T4" fmla="*/ 7037 w 9534"/>
              <a:gd name="T5" fmla="*/ 1028 h 3990"/>
              <a:gd name="T6" fmla="*/ 6658 w 9534"/>
              <a:gd name="T7" fmla="*/ 1334 h 3990"/>
              <a:gd name="T8" fmla="*/ 5850 w 9534"/>
              <a:gd name="T9" fmla="*/ 2815 h 3990"/>
              <a:gd name="T10" fmla="*/ 5275 w 9534"/>
              <a:gd name="T11" fmla="*/ 2081 h 3990"/>
              <a:gd name="T12" fmla="*/ 4455 w 9534"/>
              <a:gd name="T13" fmla="*/ 2240 h 3990"/>
              <a:gd name="T14" fmla="*/ 4467 w 9534"/>
              <a:gd name="T15" fmla="*/ 3549 h 3990"/>
              <a:gd name="T16" fmla="*/ 4369 w 9534"/>
              <a:gd name="T17" fmla="*/ 1677 h 3990"/>
              <a:gd name="T18" fmla="*/ 3892 w 9534"/>
              <a:gd name="T19" fmla="*/ 1677 h 3990"/>
              <a:gd name="T20" fmla="*/ 3610 w 9534"/>
              <a:gd name="T21" fmla="*/ 2656 h 3990"/>
              <a:gd name="T22" fmla="*/ 2068 w 9534"/>
              <a:gd name="T23" fmla="*/ 3402 h 3990"/>
              <a:gd name="T24" fmla="*/ 1579 w 9534"/>
              <a:gd name="T25" fmla="*/ 2619 h 3990"/>
              <a:gd name="T26" fmla="*/ 1775 w 9534"/>
              <a:gd name="T27" fmla="*/ 844 h 3990"/>
              <a:gd name="T28" fmla="*/ 5813 w 9534"/>
              <a:gd name="T29" fmla="*/ 808 h 3990"/>
              <a:gd name="T30" fmla="*/ 6303 w 9534"/>
              <a:gd name="T31" fmla="*/ 857 h 3990"/>
              <a:gd name="T32" fmla="*/ 6695 w 9534"/>
              <a:gd name="T33" fmla="*/ 893 h 3990"/>
              <a:gd name="T34" fmla="*/ 6254 w 9534"/>
              <a:gd name="T35" fmla="*/ 759 h 3990"/>
              <a:gd name="T36" fmla="*/ 3390 w 9534"/>
              <a:gd name="T37" fmla="*/ 2509 h 3990"/>
              <a:gd name="T38" fmla="*/ 3329 w 9534"/>
              <a:gd name="T39" fmla="*/ 3280 h 3990"/>
              <a:gd name="T40" fmla="*/ 2717 w 9534"/>
              <a:gd name="T41" fmla="*/ 3158 h 3990"/>
              <a:gd name="T42" fmla="*/ 2264 w 9534"/>
              <a:gd name="T43" fmla="*/ 3402 h 3990"/>
              <a:gd name="T44" fmla="*/ 1628 w 9534"/>
              <a:gd name="T45" fmla="*/ 783 h 3990"/>
              <a:gd name="T46" fmla="*/ 2117 w 9534"/>
              <a:gd name="T47" fmla="*/ 808 h 3990"/>
              <a:gd name="T48" fmla="*/ 2338 w 9534"/>
              <a:gd name="T49" fmla="*/ 673 h 3990"/>
              <a:gd name="T50" fmla="*/ 9412 w 9534"/>
              <a:gd name="T51" fmla="*/ 3011 h 3990"/>
              <a:gd name="T52" fmla="*/ 9179 w 9534"/>
              <a:gd name="T53" fmla="*/ 3415 h 3990"/>
              <a:gd name="T54" fmla="*/ 8898 w 9534"/>
              <a:gd name="T55" fmla="*/ 3182 h 3990"/>
              <a:gd name="T56" fmla="*/ 8861 w 9534"/>
              <a:gd name="T57" fmla="*/ 3451 h 3990"/>
              <a:gd name="T58" fmla="*/ 8506 w 9534"/>
              <a:gd name="T59" fmla="*/ 1970 h 3990"/>
              <a:gd name="T60" fmla="*/ 7784 w 9534"/>
              <a:gd name="T61" fmla="*/ 3158 h 3990"/>
              <a:gd name="T62" fmla="*/ 7588 w 9534"/>
              <a:gd name="T63" fmla="*/ 1872 h 3990"/>
              <a:gd name="T64" fmla="*/ 7368 w 9534"/>
              <a:gd name="T65" fmla="*/ 893 h 3990"/>
              <a:gd name="T66" fmla="*/ 7258 w 9534"/>
              <a:gd name="T67" fmla="*/ 343 h 3990"/>
              <a:gd name="T68" fmla="*/ 7172 w 9534"/>
              <a:gd name="T69" fmla="*/ 2093 h 3990"/>
              <a:gd name="T70" fmla="*/ 7172 w 9534"/>
              <a:gd name="T71" fmla="*/ 1187 h 3990"/>
              <a:gd name="T72" fmla="*/ 7074 w 9534"/>
              <a:gd name="T73" fmla="*/ 538 h 3990"/>
              <a:gd name="T74" fmla="*/ 7147 w 9534"/>
              <a:gd name="T75" fmla="*/ 3353 h 3990"/>
              <a:gd name="T76" fmla="*/ 7233 w 9534"/>
              <a:gd name="T77" fmla="*/ 3806 h 3990"/>
              <a:gd name="T78" fmla="*/ 6621 w 9534"/>
              <a:gd name="T79" fmla="*/ 2815 h 3990"/>
              <a:gd name="T80" fmla="*/ 5985 w 9534"/>
              <a:gd name="T81" fmla="*/ 2705 h 3990"/>
              <a:gd name="T82" fmla="*/ 5275 w 9534"/>
              <a:gd name="T83" fmla="*/ 3525 h 3990"/>
              <a:gd name="T84" fmla="*/ 5201 w 9534"/>
              <a:gd name="T85" fmla="*/ 3659 h 3990"/>
              <a:gd name="T86" fmla="*/ 5067 w 9534"/>
              <a:gd name="T87" fmla="*/ 3500 h 3990"/>
              <a:gd name="T88" fmla="*/ 4957 w 9534"/>
              <a:gd name="T89" fmla="*/ 2081 h 3990"/>
              <a:gd name="T90" fmla="*/ 4847 w 9534"/>
              <a:gd name="T91" fmla="*/ 2350 h 3990"/>
              <a:gd name="T92" fmla="*/ 4932 w 9534"/>
              <a:gd name="T93" fmla="*/ 3549 h 3990"/>
              <a:gd name="T94" fmla="*/ 4638 w 9534"/>
              <a:gd name="T95" fmla="*/ 1909 h 3990"/>
              <a:gd name="T96" fmla="*/ 4626 w 9534"/>
              <a:gd name="T97" fmla="*/ 3207 h 3990"/>
              <a:gd name="T98" fmla="*/ 4565 w 9534"/>
              <a:gd name="T99" fmla="*/ 3708 h 3990"/>
              <a:gd name="T100" fmla="*/ 4590 w 9534"/>
              <a:gd name="T101" fmla="*/ 3378 h 3990"/>
              <a:gd name="T102" fmla="*/ 4137 w 9534"/>
              <a:gd name="T103" fmla="*/ 3219 h 3990"/>
              <a:gd name="T104" fmla="*/ 4137 w 9534"/>
              <a:gd name="T105" fmla="*/ 1579 h 3990"/>
              <a:gd name="T106" fmla="*/ 3904 w 9534"/>
              <a:gd name="T107" fmla="*/ 1554 h 3990"/>
              <a:gd name="T108" fmla="*/ 1970 w 9534"/>
              <a:gd name="T109" fmla="*/ 3280 h 3990"/>
              <a:gd name="T110" fmla="*/ 1542 w 9534"/>
              <a:gd name="T111" fmla="*/ 2815 h 3990"/>
              <a:gd name="T112" fmla="*/ 869 w 9534"/>
              <a:gd name="T113" fmla="*/ 3047 h 3990"/>
              <a:gd name="T114" fmla="*/ 869 w 9534"/>
              <a:gd name="T115" fmla="*/ 2203 h 3990"/>
              <a:gd name="T116" fmla="*/ 881 w 9534"/>
              <a:gd name="T117" fmla="*/ 967 h 3990"/>
              <a:gd name="T118" fmla="*/ 918 w 9534"/>
              <a:gd name="T119" fmla="*/ 465 h 3990"/>
              <a:gd name="T120" fmla="*/ 844 w 9534"/>
              <a:gd name="T121" fmla="*/ 2815 h 3990"/>
              <a:gd name="T122" fmla="*/ 538 w 9534"/>
              <a:gd name="T123" fmla="*/ 673 h 3990"/>
              <a:gd name="T124" fmla="*/ 844 w 9534"/>
              <a:gd name="T125" fmla="*/ 3794 h 39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534" h="3990">
                <a:moveTo>
                  <a:pt x="9436" y="3818"/>
                </a:moveTo>
                <a:lnTo>
                  <a:pt x="9436" y="3733"/>
                </a:lnTo>
                <a:lnTo>
                  <a:pt x="9485" y="3733"/>
                </a:lnTo>
                <a:lnTo>
                  <a:pt x="9485" y="3696"/>
                </a:lnTo>
                <a:lnTo>
                  <a:pt x="9436" y="3696"/>
                </a:lnTo>
                <a:lnTo>
                  <a:pt x="9436" y="3586"/>
                </a:lnTo>
                <a:lnTo>
                  <a:pt x="9485" y="3586"/>
                </a:lnTo>
                <a:lnTo>
                  <a:pt x="9485" y="3561"/>
                </a:lnTo>
                <a:lnTo>
                  <a:pt x="9436" y="3561"/>
                </a:lnTo>
                <a:lnTo>
                  <a:pt x="9436" y="3451"/>
                </a:lnTo>
                <a:lnTo>
                  <a:pt x="9485" y="3451"/>
                </a:lnTo>
                <a:lnTo>
                  <a:pt x="9485" y="3415"/>
                </a:lnTo>
                <a:lnTo>
                  <a:pt x="9436" y="3415"/>
                </a:lnTo>
                <a:lnTo>
                  <a:pt x="9436" y="3304"/>
                </a:lnTo>
                <a:lnTo>
                  <a:pt x="9485" y="3304"/>
                </a:lnTo>
                <a:lnTo>
                  <a:pt x="9485" y="3268"/>
                </a:lnTo>
                <a:lnTo>
                  <a:pt x="9436" y="3268"/>
                </a:lnTo>
                <a:lnTo>
                  <a:pt x="9436" y="3182"/>
                </a:lnTo>
                <a:lnTo>
                  <a:pt x="9485" y="3182"/>
                </a:lnTo>
                <a:lnTo>
                  <a:pt x="9485" y="3158"/>
                </a:lnTo>
                <a:lnTo>
                  <a:pt x="9436" y="3158"/>
                </a:lnTo>
                <a:lnTo>
                  <a:pt x="9436" y="3047"/>
                </a:lnTo>
                <a:lnTo>
                  <a:pt x="9485" y="3047"/>
                </a:lnTo>
                <a:lnTo>
                  <a:pt x="9485" y="3011"/>
                </a:lnTo>
                <a:lnTo>
                  <a:pt x="9436" y="3011"/>
                </a:lnTo>
                <a:lnTo>
                  <a:pt x="9436" y="2901"/>
                </a:lnTo>
                <a:lnTo>
                  <a:pt x="9485" y="2901"/>
                </a:lnTo>
                <a:lnTo>
                  <a:pt x="9485" y="2864"/>
                </a:lnTo>
                <a:lnTo>
                  <a:pt x="9436" y="2864"/>
                </a:lnTo>
                <a:lnTo>
                  <a:pt x="9436" y="2766"/>
                </a:lnTo>
                <a:lnTo>
                  <a:pt x="9485" y="2766"/>
                </a:lnTo>
                <a:lnTo>
                  <a:pt x="9485" y="2729"/>
                </a:lnTo>
                <a:lnTo>
                  <a:pt x="9436" y="2729"/>
                </a:lnTo>
                <a:lnTo>
                  <a:pt x="9436" y="2509"/>
                </a:lnTo>
                <a:lnTo>
                  <a:pt x="9412" y="2509"/>
                </a:lnTo>
                <a:lnTo>
                  <a:pt x="9412" y="2729"/>
                </a:lnTo>
                <a:lnTo>
                  <a:pt x="9338" y="2729"/>
                </a:lnTo>
                <a:lnTo>
                  <a:pt x="9338" y="2582"/>
                </a:lnTo>
                <a:lnTo>
                  <a:pt x="9314" y="2582"/>
                </a:lnTo>
                <a:lnTo>
                  <a:pt x="9314" y="2729"/>
                </a:lnTo>
                <a:lnTo>
                  <a:pt x="9167" y="2729"/>
                </a:lnTo>
                <a:lnTo>
                  <a:pt x="9167" y="2509"/>
                </a:lnTo>
                <a:lnTo>
                  <a:pt x="9130" y="2509"/>
                </a:lnTo>
                <a:lnTo>
                  <a:pt x="9130" y="2729"/>
                </a:lnTo>
                <a:lnTo>
                  <a:pt x="9069" y="2729"/>
                </a:lnTo>
                <a:lnTo>
                  <a:pt x="9069" y="2582"/>
                </a:lnTo>
                <a:lnTo>
                  <a:pt x="9032" y="2582"/>
                </a:lnTo>
                <a:lnTo>
                  <a:pt x="9032" y="2729"/>
                </a:lnTo>
                <a:lnTo>
                  <a:pt x="8898" y="2729"/>
                </a:lnTo>
                <a:lnTo>
                  <a:pt x="8898" y="2509"/>
                </a:lnTo>
                <a:lnTo>
                  <a:pt x="8861" y="2509"/>
                </a:lnTo>
                <a:lnTo>
                  <a:pt x="8861" y="2729"/>
                </a:lnTo>
                <a:lnTo>
                  <a:pt x="8800" y="2729"/>
                </a:lnTo>
                <a:lnTo>
                  <a:pt x="8800" y="2717"/>
                </a:lnTo>
                <a:lnTo>
                  <a:pt x="8763" y="2717"/>
                </a:lnTo>
                <a:lnTo>
                  <a:pt x="8763" y="2729"/>
                </a:lnTo>
                <a:lnTo>
                  <a:pt x="8726" y="2729"/>
                </a:lnTo>
                <a:lnTo>
                  <a:pt x="8726" y="2766"/>
                </a:lnTo>
                <a:lnTo>
                  <a:pt x="8763" y="2766"/>
                </a:lnTo>
                <a:lnTo>
                  <a:pt x="8763" y="2864"/>
                </a:lnTo>
                <a:lnTo>
                  <a:pt x="8726" y="2864"/>
                </a:lnTo>
                <a:lnTo>
                  <a:pt x="8726" y="2901"/>
                </a:lnTo>
                <a:lnTo>
                  <a:pt x="8763" y="2901"/>
                </a:lnTo>
                <a:lnTo>
                  <a:pt x="8763" y="3011"/>
                </a:lnTo>
                <a:lnTo>
                  <a:pt x="8726" y="3011"/>
                </a:lnTo>
                <a:lnTo>
                  <a:pt x="8726" y="3047"/>
                </a:lnTo>
                <a:lnTo>
                  <a:pt x="8763" y="3047"/>
                </a:lnTo>
                <a:lnTo>
                  <a:pt x="8763" y="3158"/>
                </a:lnTo>
                <a:lnTo>
                  <a:pt x="8726" y="3158"/>
                </a:lnTo>
                <a:lnTo>
                  <a:pt x="8726" y="3182"/>
                </a:lnTo>
                <a:lnTo>
                  <a:pt x="8763" y="3182"/>
                </a:lnTo>
                <a:lnTo>
                  <a:pt x="8763" y="3268"/>
                </a:lnTo>
                <a:lnTo>
                  <a:pt x="8726" y="3268"/>
                </a:lnTo>
                <a:lnTo>
                  <a:pt x="8726" y="3304"/>
                </a:lnTo>
                <a:lnTo>
                  <a:pt x="8763" y="3304"/>
                </a:lnTo>
                <a:lnTo>
                  <a:pt x="8763" y="3415"/>
                </a:lnTo>
                <a:lnTo>
                  <a:pt x="8726" y="3415"/>
                </a:lnTo>
                <a:lnTo>
                  <a:pt x="8726" y="3451"/>
                </a:lnTo>
                <a:lnTo>
                  <a:pt x="8763" y="3451"/>
                </a:lnTo>
                <a:lnTo>
                  <a:pt x="8763" y="3561"/>
                </a:lnTo>
                <a:lnTo>
                  <a:pt x="8726" y="3561"/>
                </a:lnTo>
                <a:lnTo>
                  <a:pt x="8726" y="3586"/>
                </a:lnTo>
                <a:lnTo>
                  <a:pt x="8763" y="3586"/>
                </a:lnTo>
                <a:lnTo>
                  <a:pt x="8763" y="3696"/>
                </a:lnTo>
                <a:lnTo>
                  <a:pt x="8726" y="3696"/>
                </a:lnTo>
                <a:lnTo>
                  <a:pt x="8726" y="3733"/>
                </a:lnTo>
                <a:lnTo>
                  <a:pt x="8763" y="3733"/>
                </a:lnTo>
                <a:lnTo>
                  <a:pt x="8763" y="3818"/>
                </a:lnTo>
                <a:lnTo>
                  <a:pt x="8604" y="3818"/>
                </a:lnTo>
                <a:lnTo>
                  <a:pt x="8604" y="3451"/>
                </a:lnTo>
                <a:lnTo>
                  <a:pt x="8604" y="3366"/>
                </a:lnTo>
                <a:lnTo>
                  <a:pt x="8604" y="3268"/>
                </a:lnTo>
                <a:lnTo>
                  <a:pt x="8420" y="3268"/>
                </a:lnTo>
                <a:lnTo>
                  <a:pt x="8420" y="3158"/>
                </a:lnTo>
                <a:lnTo>
                  <a:pt x="8371" y="3158"/>
                </a:lnTo>
                <a:lnTo>
                  <a:pt x="8371" y="2925"/>
                </a:lnTo>
                <a:lnTo>
                  <a:pt x="8420" y="2925"/>
                </a:lnTo>
                <a:lnTo>
                  <a:pt x="8420" y="2790"/>
                </a:lnTo>
                <a:lnTo>
                  <a:pt x="8616" y="2790"/>
                </a:lnTo>
                <a:lnTo>
                  <a:pt x="8616" y="2607"/>
                </a:lnTo>
                <a:lnTo>
                  <a:pt x="8543" y="2607"/>
                </a:lnTo>
                <a:lnTo>
                  <a:pt x="8543" y="2582"/>
                </a:lnTo>
                <a:lnTo>
                  <a:pt x="8543" y="2533"/>
                </a:lnTo>
                <a:lnTo>
                  <a:pt x="8543" y="2374"/>
                </a:lnTo>
                <a:lnTo>
                  <a:pt x="8543" y="2325"/>
                </a:lnTo>
                <a:lnTo>
                  <a:pt x="8543" y="2166"/>
                </a:lnTo>
                <a:lnTo>
                  <a:pt x="8543" y="2117"/>
                </a:lnTo>
                <a:lnTo>
                  <a:pt x="8543" y="1958"/>
                </a:lnTo>
                <a:lnTo>
                  <a:pt x="8543" y="1909"/>
                </a:lnTo>
                <a:lnTo>
                  <a:pt x="8543" y="1872"/>
                </a:lnTo>
                <a:lnTo>
                  <a:pt x="8616" y="1872"/>
                </a:lnTo>
                <a:lnTo>
                  <a:pt x="8616" y="1689"/>
                </a:lnTo>
                <a:lnTo>
                  <a:pt x="8286" y="1689"/>
                </a:lnTo>
                <a:lnTo>
                  <a:pt x="8286" y="1493"/>
                </a:lnTo>
                <a:lnTo>
                  <a:pt x="7625" y="1493"/>
                </a:lnTo>
                <a:lnTo>
                  <a:pt x="7625" y="1689"/>
                </a:lnTo>
                <a:lnTo>
                  <a:pt x="7294" y="1689"/>
                </a:lnTo>
                <a:lnTo>
                  <a:pt x="7294" y="1701"/>
                </a:lnTo>
                <a:lnTo>
                  <a:pt x="7258" y="1701"/>
                </a:lnTo>
                <a:lnTo>
                  <a:pt x="7258" y="1481"/>
                </a:lnTo>
                <a:lnTo>
                  <a:pt x="7258" y="1444"/>
                </a:lnTo>
                <a:lnTo>
                  <a:pt x="7258" y="1297"/>
                </a:lnTo>
                <a:lnTo>
                  <a:pt x="7258" y="1261"/>
                </a:lnTo>
                <a:lnTo>
                  <a:pt x="7258" y="1114"/>
                </a:lnTo>
                <a:lnTo>
                  <a:pt x="7258" y="1077"/>
                </a:lnTo>
                <a:lnTo>
                  <a:pt x="7258" y="1028"/>
                </a:lnTo>
                <a:lnTo>
                  <a:pt x="7294" y="1028"/>
                </a:lnTo>
                <a:lnTo>
                  <a:pt x="7294" y="955"/>
                </a:lnTo>
                <a:lnTo>
                  <a:pt x="7735" y="955"/>
                </a:lnTo>
                <a:lnTo>
                  <a:pt x="7735" y="1004"/>
                </a:lnTo>
                <a:lnTo>
                  <a:pt x="7980" y="1004"/>
                </a:lnTo>
                <a:lnTo>
                  <a:pt x="7980" y="710"/>
                </a:lnTo>
                <a:lnTo>
                  <a:pt x="7735" y="710"/>
                </a:lnTo>
                <a:lnTo>
                  <a:pt x="7735" y="722"/>
                </a:lnTo>
                <a:lnTo>
                  <a:pt x="7160" y="147"/>
                </a:lnTo>
                <a:lnTo>
                  <a:pt x="5458" y="881"/>
                </a:lnTo>
                <a:lnTo>
                  <a:pt x="5458" y="881"/>
                </a:lnTo>
                <a:lnTo>
                  <a:pt x="5361" y="918"/>
                </a:lnTo>
                <a:lnTo>
                  <a:pt x="5361" y="955"/>
                </a:lnTo>
                <a:lnTo>
                  <a:pt x="6376" y="955"/>
                </a:lnTo>
                <a:lnTo>
                  <a:pt x="6425" y="955"/>
                </a:lnTo>
                <a:lnTo>
                  <a:pt x="7001" y="955"/>
                </a:lnTo>
                <a:lnTo>
                  <a:pt x="7001" y="1028"/>
                </a:lnTo>
                <a:lnTo>
                  <a:pt x="7037" y="1028"/>
                </a:lnTo>
                <a:lnTo>
                  <a:pt x="7037" y="1701"/>
                </a:lnTo>
                <a:lnTo>
                  <a:pt x="6976" y="1701"/>
                </a:lnTo>
                <a:lnTo>
                  <a:pt x="6976" y="2692"/>
                </a:lnTo>
                <a:lnTo>
                  <a:pt x="6976" y="2766"/>
                </a:lnTo>
                <a:lnTo>
                  <a:pt x="6976" y="3317"/>
                </a:lnTo>
                <a:lnTo>
                  <a:pt x="6866" y="3317"/>
                </a:lnTo>
                <a:lnTo>
                  <a:pt x="6866" y="2974"/>
                </a:lnTo>
                <a:lnTo>
                  <a:pt x="6658" y="2974"/>
                </a:lnTo>
                <a:lnTo>
                  <a:pt x="6658" y="2876"/>
                </a:lnTo>
                <a:lnTo>
                  <a:pt x="6780" y="2876"/>
                </a:lnTo>
                <a:lnTo>
                  <a:pt x="6780" y="2815"/>
                </a:lnTo>
                <a:lnTo>
                  <a:pt x="6658" y="2815"/>
                </a:lnTo>
                <a:lnTo>
                  <a:pt x="6658" y="2705"/>
                </a:lnTo>
                <a:lnTo>
                  <a:pt x="6780" y="2705"/>
                </a:lnTo>
                <a:lnTo>
                  <a:pt x="6780" y="2656"/>
                </a:lnTo>
                <a:lnTo>
                  <a:pt x="6658" y="2656"/>
                </a:lnTo>
                <a:lnTo>
                  <a:pt x="6658" y="2546"/>
                </a:lnTo>
                <a:lnTo>
                  <a:pt x="6780" y="2546"/>
                </a:lnTo>
                <a:lnTo>
                  <a:pt x="6780" y="2484"/>
                </a:lnTo>
                <a:lnTo>
                  <a:pt x="6658" y="2484"/>
                </a:lnTo>
                <a:lnTo>
                  <a:pt x="6658" y="2374"/>
                </a:lnTo>
                <a:lnTo>
                  <a:pt x="6780" y="2374"/>
                </a:lnTo>
                <a:lnTo>
                  <a:pt x="6780" y="2325"/>
                </a:lnTo>
                <a:lnTo>
                  <a:pt x="6658" y="2325"/>
                </a:lnTo>
                <a:lnTo>
                  <a:pt x="6658" y="2215"/>
                </a:lnTo>
                <a:lnTo>
                  <a:pt x="6780" y="2215"/>
                </a:lnTo>
                <a:lnTo>
                  <a:pt x="6780" y="2154"/>
                </a:lnTo>
                <a:lnTo>
                  <a:pt x="6658" y="2154"/>
                </a:lnTo>
                <a:lnTo>
                  <a:pt x="6658" y="2044"/>
                </a:lnTo>
                <a:lnTo>
                  <a:pt x="6780" y="2044"/>
                </a:lnTo>
                <a:lnTo>
                  <a:pt x="6780" y="1995"/>
                </a:lnTo>
                <a:lnTo>
                  <a:pt x="6658" y="1995"/>
                </a:lnTo>
                <a:lnTo>
                  <a:pt x="6658" y="1885"/>
                </a:lnTo>
                <a:lnTo>
                  <a:pt x="6780" y="1885"/>
                </a:lnTo>
                <a:lnTo>
                  <a:pt x="6780" y="1824"/>
                </a:lnTo>
                <a:lnTo>
                  <a:pt x="6658" y="1824"/>
                </a:lnTo>
                <a:lnTo>
                  <a:pt x="6658" y="1713"/>
                </a:lnTo>
                <a:lnTo>
                  <a:pt x="6780" y="1713"/>
                </a:lnTo>
                <a:lnTo>
                  <a:pt x="6780" y="1664"/>
                </a:lnTo>
                <a:lnTo>
                  <a:pt x="6658" y="1664"/>
                </a:lnTo>
                <a:lnTo>
                  <a:pt x="6658" y="1554"/>
                </a:lnTo>
                <a:lnTo>
                  <a:pt x="6780" y="1554"/>
                </a:lnTo>
                <a:lnTo>
                  <a:pt x="6780" y="1493"/>
                </a:lnTo>
                <a:lnTo>
                  <a:pt x="6658" y="1493"/>
                </a:lnTo>
                <a:lnTo>
                  <a:pt x="6658" y="1383"/>
                </a:lnTo>
                <a:lnTo>
                  <a:pt x="6780" y="1383"/>
                </a:lnTo>
                <a:lnTo>
                  <a:pt x="6780" y="1334"/>
                </a:lnTo>
                <a:lnTo>
                  <a:pt x="6658" y="1334"/>
                </a:lnTo>
                <a:lnTo>
                  <a:pt x="6658" y="1163"/>
                </a:lnTo>
                <a:lnTo>
                  <a:pt x="6621" y="1163"/>
                </a:lnTo>
                <a:lnTo>
                  <a:pt x="6621" y="1334"/>
                </a:lnTo>
                <a:lnTo>
                  <a:pt x="6389" y="1334"/>
                </a:lnTo>
                <a:lnTo>
                  <a:pt x="6389" y="1065"/>
                </a:lnTo>
                <a:lnTo>
                  <a:pt x="6217" y="1065"/>
                </a:lnTo>
                <a:lnTo>
                  <a:pt x="6217" y="1334"/>
                </a:lnTo>
                <a:lnTo>
                  <a:pt x="5985" y="1334"/>
                </a:lnTo>
                <a:lnTo>
                  <a:pt x="5985" y="1163"/>
                </a:lnTo>
                <a:lnTo>
                  <a:pt x="5948" y="1163"/>
                </a:lnTo>
                <a:lnTo>
                  <a:pt x="5948" y="1334"/>
                </a:lnTo>
                <a:lnTo>
                  <a:pt x="5850" y="1334"/>
                </a:lnTo>
                <a:lnTo>
                  <a:pt x="5850" y="1383"/>
                </a:lnTo>
                <a:lnTo>
                  <a:pt x="5948" y="1383"/>
                </a:lnTo>
                <a:lnTo>
                  <a:pt x="5948" y="1493"/>
                </a:lnTo>
                <a:lnTo>
                  <a:pt x="5850" y="1493"/>
                </a:lnTo>
                <a:lnTo>
                  <a:pt x="5850" y="1554"/>
                </a:lnTo>
                <a:lnTo>
                  <a:pt x="5948" y="1554"/>
                </a:lnTo>
                <a:lnTo>
                  <a:pt x="5948" y="1664"/>
                </a:lnTo>
                <a:lnTo>
                  <a:pt x="5850" y="1664"/>
                </a:lnTo>
                <a:lnTo>
                  <a:pt x="5850" y="1713"/>
                </a:lnTo>
                <a:lnTo>
                  <a:pt x="5948" y="1713"/>
                </a:lnTo>
                <a:lnTo>
                  <a:pt x="5948" y="1824"/>
                </a:lnTo>
                <a:lnTo>
                  <a:pt x="5850" y="1824"/>
                </a:lnTo>
                <a:lnTo>
                  <a:pt x="5850" y="1885"/>
                </a:lnTo>
                <a:lnTo>
                  <a:pt x="5948" y="1885"/>
                </a:lnTo>
                <a:lnTo>
                  <a:pt x="5948" y="1995"/>
                </a:lnTo>
                <a:lnTo>
                  <a:pt x="5850" y="1995"/>
                </a:lnTo>
                <a:lnTo>
                  <a:pt x="5850" y="2044"/>
                </a:lnTo>
                <a:lnTo>
                  <a:pt x="5948" y="2044"/>
                </a:lnTo>
                <a:lnTo>
                  <a:pt x="5948" y="2154"/>
                </a:lnTo>
                <a:lnTo>
                  <a:pt x="5850" y="2154"/>
                </a:lnTo>
                <a:lnTo>
                  <a:pt x="5850" y="2215"/>
                </a:lnTo>
                <a:lnTo>
                  <a:pt x="5948" y="2215"/>
                </a:lnTo>
                <a:lnTo>
                  <a:pt x="5948" y="2325"/>
                </a:lnTo>
                <a:lnTo>
                  <a:pt x="5850" y="2325"/>
                </a:lnTo>
                <a:lnTo>
                  <a:pt x="5850" y="2374"/>
                </a:lnTo>
                <a:lnTo>
                  <a:pt x="5948" y="2374"/>
                </a:lnTo>
                <a:lnTo>
                  <a:pt x="5948" y="2484"/>
                </a:lnTo>
                <a:lnTo>
                  <a:pt x="5850" y="2484"/>
                </a:lnTo>
                <a:lnTo>
                  <a:pt x="5850" y="2546"/>
                </a:lnTo>
                <a:lnTo>
                  <a:pt x="5948" y="2546"/>
                </a:lnTo>
                <a:lnTo>
                  <a:pt x="5948" y="2656"/>
                </a:lnTo>
                <a:lnTo>
                  <a:pt x="5850" y="2656"/>
                </a:lnTo>
                <a:lnTo>
                  <a:pt x="5850" y="2705"/>
                </a:lnTo>
                <a:lnTo>
                  <a:pt x="5948" y="2705"/>
                </a:lnTo>
                <a:lnTo>
                  <a:pt x="5948" y="2815"/>
                </a:lnTo>
                <a:lnTo>
                  <a:pt x="5850" y="2815"/>
                </a:lnTo>
                <a:lnTo>
                  <a:pt x="5850" y="2876"/>
                </a:lnTo>
                <a:lnTo>
                  <a:pt x="5948" y="2876"/>
                </a:lnTo>
                <a:lnTo>
                  <a:pt x="5948" y="2974"/>
                </a:lnTo>
                <a:lnTo>
                  <a:pt x="5740" y="2974"/>
                </a:lnTo>
                <a:lnTo>
                  <a:pt x="5740" y="3329"/>
                </a:lnTo>
                <a:lnTo>
                  <a:pt x="5569" y="3243"/>
                </a:lnTo>
                <a:lnTo>
                  <a:pt x="5373" y="3341"/>
                </a:lnTo>
                <a:lnTo>
                  <a:pt x="5373" y="3341"/>
                </a:lnTo>
                <a:lnTo>
                  <a:pt x="5312" y="3341"/>
                </a:lnTo>
                <a:lnTo>
                  <a:pt x="5312" y="3207"/>
                </a:lnTo>
                <a:lnTo>
                  <a:pt x="5373" y="3207"/>
                </a:lnTo>
                <a:lnTo>
                  <a:pt x="5373" y="3182"/>
                </a:lnTo>
                <a:lnTo>
                  <a:pt x="5312" y="3182"/>
                </a:lnTo>
                <a:lnTo>
                  <a:pt x="5312" y="3047"/>
                </a:lnTo>
                <a:lnTo>
                  <a:pt x="5373" y="3047"/>
                </a:lnTo>
                <a:lnTo>
                  <a:pt x="5373" y="3023"/>
                </a:lnTo>
                <a:lnTo>
                  <a:pt x="5312" y="3023"/>
                </a:lnTo>
                <a:lnTo>
                  <a:pt x="5312" y="2901"/>
                </a:lnTo>
                <a:lnTo>
                  <a:pt x="5275" y="2901"/>
                </a:lnTo>
                <a:lnTo>
                  <a:pt x="5275" y="3023"/>
                </a:lnTo>
                <a:lnTo>
                  <a:pt x="5189" y="3023"/>
                </a:lnTo>
                <a:lnTo>
                  <a:pt x="5189" y="2962"/>
                </a:lnTo>
                <a:lnTo>
                  <a:pt x="5165" y="2962"/>
                </a:lnTo>
                <a:lnTo>
                  <a:pt x="5165" y="2876"/>
                </a:lnTo>
                <a:lnTo>
                  <a:pt x="5238" y="2876"/>
                </a:lnTo>
                <a:lnTo>
                  <a:pt x="5238" y="3023"/>
                </a:lnTo>
                <a:lnTo>
                  <a:pt x="5275" y="3023"/>
                </a:lnTo>
                <a:lnTo>
                  <a:pt x="5275" y="2876"/>
                </a:lnTo>
                <a:lnTo>
                  <a:pt x="5336" y="2876"/>
                </a:lnTo>
                <a:lnTo>
                  <a:pt x="5336" y="2839"/>
                </a:lnTo>
                <a:lnTo>
                  <a:pt x="5275" y="2839"/>
                </a:lnTo>
                <a:lnTo>
                  <a:pt x="5275" y="2705"/>
                </a:lnTo>
                <a:lnTo>
                  <a:pt x="5336" y="2705"/>
                </a:lnTo>
                <a:lnTo>
                  <a:pt x="5336" y="2680"/>
                </a:lnTo>
                <a:lnTo>
                  <a:pt x="5275" y="2680"/>
                </a:lnTo>
                <a:lnTo>
                  <a:pt x="5275" y="2546"/>
                </a:lnTo>
                <a:lnTo>
                  <a:pt x="5336" y="2546"/>
                </a:lnTo>
                <a:lnTo>
                  <a:pt x="5336" y="2509"/>
                </a:lnTo>
                <a:lnTo>
                  <a:pt x="5275" y="2509"/>
                </a:lnTo>
                <a:lnTo>
                  <a:pt x="5275" y="2374"/>
                </a:lnTo>
                <a:lnTo>
                  <a:pt x="5336" y="2374"/>
                </a:lnTo>
                <a:lnTo>
                  <a:pt x="5336" y="2350"/>
                </a:lnTo>
                <a:lnTo>
                  <a:pt x="5275" y="2350"/>
                </a:lnTo>
                <a:lnTo>
                  <a:pt x="5275" y="2240"/>
                </a:lnTo>
                <a:lnTo>
                  <a:pt x="5324" y="2240"/>
                </a:lnTo>
                <a:lnTo>
                  <a:pt x="5324" y="2203"/>
                </a:lnTo>
                <a:lnTo>
                  <a:pt x="5275" y="2203"/>
                </a:lnTo>
                <a:lnTo>
                  <a:pt x="5275" y="2081"/>
                </a:lnTo>
                <a:lnTo>
                  <a:pt x="5324" y="2081"/>
                </a:lnTo>
                <a:lnTo>
                  <a:pt x="5324" y="2044"/>
                </a:lnTo>
                <a:lnTo>
                  <a:pt x="5275" y="2044"/>
                </a:lnTo>
                <a:lnTo>
                  <a:pt x="5275" y="1909"/>
                </a:lnTo>
                <a:lnTo>
                  <a:pt x="5324" y="1909"/>
                </a:lnTo>
                <a:lnTo>
                  <a:pt x="5324" y="1885"/>
                </a:lnTo>
                <a:lnTo>
                  <a:pt x="5275" y="1885"/>
                </a:lnTo>
                <a:lnTo>
                  <a:pt x="5275" y="1750"/>
                </a:lnTo>
                <a:lnTo>
                  <a:pt x="5324" y="1750"/>
                </a:lnTo>
                <a:lnTo>
                  <a:pt x="5324" y="1713"/>
                </a:lnTo>
                <a:lnTo>
                  <a:pt x="5275" y="1713"/>
                </a:lnTo>
                <a:lnTo>
                  <a:pt x="5275" y="1456"/>
                </a:lnTo>
                <a:lnTo>
                  <a:pt x="5238" y="1456"/>
                </a:lnTo>
                <a:lnTo>
                  <a:pt x="5238" y="1713"/>
                </a:lnTo>
                <a:lnTo>
                  <a:pt x="5165" y="1713"/>
                </a:lnTo>
                <a:lnTo>
                  <a:pt x="5165" y="1542"/>
                </a:lnTo>
                <a:lnTo>
                  <a:pt x="5128" y="1542"/>
                </a:lnTo>
                <a:lnTo>
                  <a:pt x="5128" y="1713"/>
                </a:lnTo>
                <a:lnTo>
                  <a:pt x="4957" y="1713"/>
                </a:lnTo>
                <a:lnTo>
                  <a:pt x="4957" y="1456"/>
                </a:lnTo>
                <a:lnTo>
                  <a:pt x="4932" y="1456"/>
                </a:lnTo>
                <a:lnTo>
                  <a:pt x="4932" y="1713"/>
                </a:lnTo>
                <a:lnTo>
                  <a:pt x="4847" y="1713"/>
                </a:lnTo>
                <a:lnTo>
                  <a:pt x="4847" y="1542"/>
                </a:lnTo>
                <a:lnTo>
                  <a:pt x="4810" y="1542"/>
                </a:lnTo>
                <a:lnTo>
                  <a:pt x="4810" y="1713"/>
                </a:lnTo>
                <a:lnTo>
                  <a:pt x="4638" y="1713"/>
                </a:lnTo>
                <a:lnTo>
                  <a:pt x="4638" y="1456"/>
                </a:lnTo>
                <a:lnTo>
                  <a:pt x="4614" y="1456"/>
                </a:lnTo>
                <a:lnTo>
                  <a:pt x="4614" y="1713"/>
                </a:lnTo>
                <a:lnTo>
                  <a:pt x="4528" y="1713"/>
                </a:lnTo>
                <a:lnTo>
                  <a:pt x="4528" y="1701"/>
                </a:lnTo>
                <a:lnTo>
                  <a:pt x="4492" y="1701"/>
                </a:lnTo>
                <a:lnTo>
                  <a:pt x="4492" y="1713"/>
                </a:lnTo>
                <a:lnTo>
                  <a:pt x="4455" y="1713"/>
                </a:lnTo>
                <a:lnTo>
                  <a:pt x="4455" y="1750"/>
                </a:lnTo>
                <a:lnTo>
                  <a:pt x="4492" y="1750"/>
                </a:lnTo>
                <a:lnTo>
                  <a:pt x="4492" y="1885"/>
                </a:lnTo>
                <a:lnTo>
                  <a:pt x="4455" y="1885"/>
                </a:lnTo>
                <a:lnTo>
                  <a:pt x="4455" y="1909"/>
                </a:lnTo>
                <a:lnTo>
                  <a:pt x="4492" y="1909"/>
                </a:lnTo>
                <a:lnTo>
                  <a:pt x="4492" y="2044"/>
                </a:lnTo>
                <a:lnTo>
                  <a:pt x="4455" y="2044"/>
                </a:lnTo>
                <a:lnTo>
                  <a:pt x="4455" y="2081"/>
                </a:lnTo>
                <a:lnTo>
                  <a:pt x="4492" y="2081"/>
                </a:lnTo>
                <a:lnTo>
                  <a:pt x="4492" y="2203"/>
                </a:lnTo>
                <a:lnTo>
                  <a:pt x="4455" y="2203"/>
                </a:lnTo>
                <a:lnTo>
                  <a:pt x="4455" y="2240"/>
                </a:lnTo>
                <a:lnTo>
                  <a:pt x="4492" y="2240"/>
                </a:lnTo>
                <a:lnTo>
                  <a:pt x="4492" y="2350"/>
                </a:lnTo>
                <a:lnTo>
                  <a:pt x="4455" y="2350"/>
                </a:lnTo>
                <a:lnTo>
                  <a:pt x="4455" y="2374"/>
                </a:lnTo>
                <a:lnTo>
                  <a:pt x="4492" y="2374"/>
                </a:lnTo>
                <a:lnTo>
                  <a:pt x="4492" y="2509"/>
                </a:lnTo>
                <a:lnTo>
                  <a:pt x="4455" y="2509"/>
                </a:lnTo>
                <a:lnTo>
                  <a:pt x="4455" y="2546"/>
                </a:lnTo>
                <a:lnTo>
                  <a:pt x="4492" y="2546"/>
                </a:lnTo>
                <a:lnTo>
                  <a:pt x="4492" y="2680"/>
                </a:lnTo>
                <a:lnTo>
                  <a:pt x="4455" y="2680"/>
                </a:lnTo>
                <a:lnTo>
                  <a:pt x="4455" y="2705"/>
                </a:lnTo>
                <a:lnTo>
                  <a:pt x="4492" y="2705"/>
                </a:lnTo>
                <a:lnTo>
                  <a:pt x="4492" y="2839"/>
                </a:lnTo>
                <a:lnTo>
                  <a:pt x="4455" y="2839"/>
                </a:lnTo>
                <a:lnTo>
                  <a:pt x="4455" y="2876"/>
                </a:lnTo>
                <a:lnTo>
                  <a:pt x="4492" y="2876"/>
                </a:lnTo>
                <a:lnTo>
                  <a:pt x="4492" y="3023"/>
                </a:lnTo>
                <a:lnTo>
                  <a:pt x="4528" y="3023"/>
                </a:lnTo>
                <a:lnTo>
                  <a:pt x="4528" y="2876"/>
                </a:lnTo>
                <a:lnTo>
                  <a:pt x="4614" y="2876"/>
                </a:lnTo>
                <a:lnTo>
                  <a:pt x="4614" y="2901"/>
                </a:lnTo>
                <a:lnTo>
                  <a:pt x="4590" y="2901"/>
                </a:lnTo>
                <a:lnTo>
                  <a:pt x="4590" y="3023"/>
                </a:lnTo>
                <a:lnTo>
                  <a:pt x="4418" y="3023"/>
                </a:lnTo>
                <a:lnTo>
                  <a:pt x="4418" y="3047"/>
                </a:lnTo>
                <a:lnTo>
                  <a:pt x="4590" y="3047"/>
                </a:lnTo>
                <a:lnTo>
                  <a:pt x="4590" y="3182"/>
                </a:lnTo>
                <a:lnTo>
                  <a:pt x="4504" y="3182"/>
                </a:lnTo>
                <a:lnTo>
                  <a:pt x="4504" y="3060"/>
                </a:lnTo>
                <a:lnTo>
                  <a:pt x="4467" y="3060"/>
                </a:lnTo>
                <a:lnTo>
                  <a:pt x="4467" y="3182"/>
                </a:lnTo>
                <a:lnTo>
                  <a:pt x="4418" y="3182"/>
                </a:lnTo>
                <a:lnTo>
                  <a:pt x="4418" y="3207"/>
                </a:lnTo>
                <a:lnTo>
                  <a:pt x="4467" y="3207"/>
                </a:lnTo>
                <a:lnTo>
                  <a:pt x="4467" y="3341"/>
                </a:lnTo>
                <a:lnTo>
                  <a:pt x="4418" y="3341"/>
                </a:lnTo>
                <a:lnTo>
                  <a:pt x="4418" y="3378"/>
                </a:lnTo>
                <a:lnTo>
                  <a:pt x="4467" y="3378"/>
                </a:lnTo>
                <a:lnTo>
                  <a:pt x="4467" y="3464"/>
                </a:lnTo>
                <a:lnTo>
                  <a:pt x="4455" y="3464"/>
                </a:lnTo>
                <a:lnTo>
                  <a:pt x="4455" y="3500"/>
                </a:lnTo>
                <a:lnTo>
                  <a:pt x="4467" y="3500"/>
                </a:lnTo>
                <a:lnTo>
                  <a:pt x="4467" y="3525"/>
                </a:lnTo>
                <a:lnTo>
                  <a:pt x="4418" y="3525"/>
                </a:lnTo>
                <a:lnTo>
                  <a:pt x="4418" y="3549"/>
                </a:lnTo>
                <a:lnTo>
                  <a:pt x="4467" y="3549"/>
                </a:lnTo>
                <a:lnTo>
                  <a:pt x="4467" y="3549"/>
                </a:lnTo>
                <a:lnTo>
                  <a:pt x="4455" y="3549"/>
                </a:lnTo>
                <a:lnTo>
                  <a:pt x="4455" y="3586"/>
                </a:lnTo>
                <a:lnTo>
                  <a:pt x="4467" y="3586"/>
                </a:lnTo>
                <a:lnTo>
                  <a:pt x="4467" y="3659"/>
                </a:lnTo>
                <a:lnTo>
                  <a:pt x="4467" y="3659"/>
                </a:lnTo>
                <a:lnTo>
                  <a:pt x="4467" y="3684"/>
                </a:lnTo>
                <a:lnTo>
                  <a:pt x="4418" y="3684"/>
                </a:lnTo>
                <a:lnTo>
                  <a:pt x="4418" y="3708"/>
                </a:lnTo>
                <a:lnTo>
                  <a:pt x="4467" y="3708"/>
                </a:lnTo>
                <a:lnTo>
                  <a:pt x="4467" y="3745"/>
                </a:lnTo>
                <a:lnTo>
                  <a:pt x="4467" y="3745"/>
                </a:lnTo>
                <a:lnTo>
                  <a:pt x="4467" y="3782"/>
                </a:lnTo>
                <a:lnTo>
                  <a:pt x="4467" y="3782"/>
                </a:lnTo>
                <a:lnTo>
                  <a:pt x="4467" y="3818"/>
                </a:lnTo>
                <a:lnTo>
                  <a:pt x="4320" y="3818"/>
                </a:lnTo>
                <a:lnTo>
                  <a:pt x="4320" y="3806"/>
                </a:lnTo>
                <a:lnTo>
                  <a:pt x="4320" y="3721"/>
                </a:lnTo>
                <a:lnTo>
                  <a:pt x="4320" y="3439"/>
                </a:lnTo>
                <a:lnTo>
                  <a:pt x="4320" y="3366"/>
                </a:lnTo>
                <a:lnTo>
                  <a:pt x="4320" y="3072"/>
                </a:lnTo>
                <a:lnTo>
                  <a:pt x="4320" y="2998"/>
                </a:lnTo>
                <a:lnTo>
                  <a:pt x="4320" y="2717"/>
                </a:lnTo>
                <a:lnTo>
                  <a:pt x="4320" y="2705"/>
                </a:lnTo>
                <a:lnTo>
                  <a:pt x="4418" y="2705"/>
                </a:lnTo>
                <a:lnTo>
                  <a:pt x="4418" y="2215"/>
                </a:lnTo>
                <a:lnTo>
                  <a:pt x="4296" y="2215"/>
                </a:lnTo>
                <a:lnTo>
                  <a:pt x="4296" y="2154"/>
                </a:lnTo>
                <a:lnTo>
                  <a:pt x="4369" y="2154"/>
                </a:lnTo>
                <a:lnTo>
                  <a:pt x="4369" y="2117"/>
                </a:lnTo>
                <a:lnTo>
                  <a:pt x="4296" y="2117"/>
                </a:lnTo>
                <a:lnTo>
                  <a:pt x="4296" y="2056"/>
                </a:lnTo>
                <a:lnTo>
                  <a:pt x="4369" y="2056"/>
                </a:lnTo>
                <a:lnTo>
                  <a:pt x="4369" y="2032"/>
                </a:lnTo>
                <a:lnTo>
                  <a:pt x="4296" y="2032"/>
                </a:lnTo>
                <a:lnTo>
                  <a:pt x="4296" y="1970"/>
                </a:lnTo>
                <a:lnTo>
                  <a:pt x="4369" y="1970"/>
                </a:lnTo>
                <a:lnTo>
                  <a:pt x="4369" y="1934"/>
                </a:lnTo>
                <a:lnTo>
                  <a:pt x="4296" y="1934"/>
                </a:lnTo>
                <a:lnTo>
                  <a:pt x="4296" y="1872"/>
                </a:lnTo>
                <a:lnTo>
                  <a:pt x="4369" y="1872"/>
                </a:lnTo>
                <a:lnTo>
                  <a:pt x="4369" y="1836"/>
                </a:lnTo>
                <a:lnTo>
                  <a:pt x="4296" y="1836"/>
                </a:lnTo>
                <a:lnTo>
                  <a:pt x="4296" y="1775"/>
                </a:lnTo>
                <a:lnTo>
                  <a:pt x="4369" y="1775"/>
                </a:lnTo>
                <a:lnTo>
                  <a:pt x="4369" y="1738"/>
                </a:lnTo>
                <a:lnTo>
                  <a:pt x="4296" y="1738"/>
                </a:lnTo>
                <a:lnTo>
                  <a:pt x="4296" y="1677"/>
                </a:lnTo>
                <a:lnTo>
                  <a:pt x="4369" y="1677"/>
                </a:lnTo>
                <a:lnTo>
                  <a:pt x="4369" y="1640"/>
                </a:lnTo>
                <a:lnTo>
                  <a:pt x="4296" y="1640"/>
                </a:lnTo>
                <a:lnTo>
                  <a:pt x="4296" y="1579"/>
                </a:lnTo>
                <a:lnTo>
                  <a:pt x="4369" y="1579"/>
                </a:lnTo>
                <a:lnTo>
                  <a:pt x="4369" y="1554"/>
                </a:lnTo>
                <a:lnTo>
                  <a:pt x="4296" y="1554"/>
                </a:lnTo>
                <a:lnTo>
                  <a:pt x="4296" y="1481"/>
                </a:lnTo>
                <a:lnTo>
                  <a:pt x="4369" y="1481"/>
                </a:lnTo>
                <a:lnTo>
                  <a:pt x="4369" y="1456"/>
                </a:lnTo>
                <a:lnTo>
                  <a:pt x="4296" y="1456"/>
                </a:lnTo>
                <a:lnTo>
                  <a:pt x="4296" y="1395"/>
                </a:lnTo>
                <a:lnTo>
                  <a:pt x="4369" y="1395"/>
                </a:lnTo>
                <a:lnTo>
                  <a:pt x="4369" y="1358"/>
                </a:lnTo>
                <a:lnTo>
                  <a:pt x="4296" y="1358"/>
                </a:lnTo>
                <a:lnTo>
                  <a:pt x="4296" y="1297"/>
                </a:lnTo>
                <a:lnTo>
                  <a:pt x="4369" y="1297"/>
                </a:lnTo>
                <a:lnTo>
                  <a:pt x="4369" y="1261"/>
                </a:lnTo>
                <a:lnTo>
                  <a:pt x="4296" y="1261"/>
                </a:lnTo>
                <a:lnTo>
                  <a:pt x="4296" y="1163"/>
                </a:lnTo>
                <a:lnTo>
                  <a:pt x="4271" y="1163"/>
                </a:lnTo>
                <a:lnTo>
                  <a:pt x="4271" y="1261"/>
                </a:lnTo>
                <a:lnTo>
                  <a:pt x="4137" y="1261"/>
                </a:lnTo>
                <a:lnTo>
                  <a:pt x="4137" y="1114"/>
                </a:lnTo>
                <a:lnTo>
                  <a:pt x="4039" y="1114"/>
                </a:lnTo>
                <a:lnTo>
                  <a:pt x="4039" y="1261"/>
                </a:lnTo>
                <a:lnTo>
                  <a:pt x="3904" y="1261"/>
                </a:lnTo>
                <a:lnTo>
                  <a:pt x="3904" y="1163"/>
                </a:lnTo>
                <a:lnTo>
                  <a:pt x="3892" y="1163"/>
                </a:lnTo>
                <a:lnTo>
                  <a:pt x="3892" y="1261"/>
                </a:lnTo>
                <a:lnTo>
                  <a:pt x="3831" y="1261"/>
                </a:lnTo>
                <a:lnTo>
                  <a:pt x="3831" y="1297"/>
                </a:lnTo>
                <a:lnTo>
                  <a:pt x="3892" y="1297"/>
                </a:lnTo>
                <a:lnTo>
                  <a:pt x="3892" y="1358"/>
                </a:lnTo>
                <a:lnTo>
                  <a:pt x="3831" y="1358"/>
                </a:lnTo>
                <a:lnTo>
                  <a:pt x="3831" y="1395"/>
                </a:lnTo>
                <a:lnTo>
                  <a:pt x="3892" y="1395"/>
                </a:lnTo>
                <a:lnTo>
                  <a:pt x="3892" y="1456"/>
                </a:lnTo>
                <a:lnTo>
                  <a:pt x="3831" y="1456"/>
                </a:lnTo>
                <a:lnTo>
                  <a:pt x="3831" y="1481"/>
                </a:lnTo>
                <a:lnTo>
                  <a:pt x="3892" y="1481"/>
                </a:lnTo>
                <a:lnTo>
                  <a:pt x="3892" y="1554"/>
                </a:lnTo>
                <a:lnTo>
                  <a:pt x="3831" y="1554"/>
                </a:lnTo>
                <a:lnTo>
                  <a:pt x="3831" y="1579"/>
                </a:lnTo>
                <a:lnTo>
                  <a:pt x="3892" y="1579"/>
                </a:lnTo>
                <a:lnTo>
                  <a:pt x="3892" y="1640"/>
                </a:lnTo>
                <a:lnTo>
                  <a:pt x="3831" y="1640"/>
                </a:lnTo>
                <a:lnTo>
                  <a:pt x="3831" y="1677"/>
                </a:lnTo>
                <a:lnTo>
                  <a:pt x="3892" y="1677"/>
                </a:lnTo>
                <a:lnTo>
                  <a:pt x="3892" y="1738"/>
                </a:lnTo>
                <a:lnTo>
                  <a:pt x="3831" y="1738"/>
                </a:lnTo>
                <a:lnTo>
                  <a:pt x="3831" y="1775"/>
                </a:lnTo>
                <a:lnTo>
                  <a:pt x="3892" y="1775"/>
                </a:lnTo>
                <a:lnTo>
                  <a:pt x="3892" y="1836"/>
                </a:lnTo>
                <a:lnTo>
                  <a:pt x="3831" y="1836"/>
                </a:lnTo>
                <a:lnTo>
                  <a:pt x="3831" y="1872"/>
                </a:lnTo>
                <a:lnTo>
                  <a:pt x="3892" y="1872"/>
                </a:lnTo>
                <a:lnTo>
                  <a:pt x="3892" y="1934"/>
                </a:lnTo>
                <a:lnTo>
                  <a:pt x="3831" y="1934"/>
                </a:lnTo>
                <a:lnTo>
                  <a:pt x="3831" y="1970"/>
                </a:lnTo>
                <a:lnTo>
                  <a:pt x="3892" y="1970"/>
                </a:lnTo>
                <a:lnTo>
                  <a:pt x="3892" y="2032"/>
                </a:lnTo>
                <a:lnTo>
                  <a:pt x="3831" y="2032"/>
                </a:lnTo>
                <a:lnTo>
                  <a:pt x="3831" y="2056"/>
                </a:lnTo>
                <a:lnTo>
                  <a:pt x="3892" y="2056"/>
                </a:lnTo>
                <a:lnTo>
                  <a:pt x="3892" y="2117"/>
                </a:lnTo>
                <a:lnTo>
                  <a:pt x="3831" y="2117"/>
                </a:lnTo>
                <a:lnTo>
                  <a:pt x="3831" y="2154"/>
                </a:lnTo>
                <a:lnTo>
                  <a:pt x="3892" y="2154"/>
                </a:lnTo>
                <a:lnTo>
                  <a:pt x="3892" y="2215"/>
                </a:lnTo>
                <a:lnTo>
                  <a:pt x="3769" y="2215"/>
                </a:lnTo>
                <a:lnTo>
                  <a:pt x="3769" y="2705"/>
                </a:lnTo>
                <a:lnTo>
                  <a:pt x="3855" y="2705"/>
                </a:lnTo>
                <a:lnTo>
                  <a:pt x="3855" y="3818"/>
                </a:lnTo>
                <a:lnTo>
                  <a:pt x="3696" y="3818"/>
                </a:lnTo>
                <a:lnTo>
                  <a:pt x="3696" y="3402"/>
                </a:lnTo>
                <a:lnTo>
                  <a:pt x="3610" y="3402"/>
                </a:lnTo>
                <a:lnTo>
                  <a:pt x="3610" y="3304"/>
                </a:lnTo>
                <a:lnTo>
                  <a:pt x="3696" y="3304"/>
                </a:lnTo>
                <a:lnTo>
                  <a:pt x="3696" y="3280"/>
                </a:lnTo>
                <a:lnTo>
                  <a:pt x="3610" y="3280"/>
                </a:lnTo>
                <a:lnTo>
                  <a:pt x="3610" y="3158"/>
                </a:lnTo>
                <a:lnTo>
                  <a:pt x="3696" y="3158"/>
                </a:lnTo>
                <a:lnTo>
                  <a:pt x="3696" y="3121"/>
                </a:lnTo>
                <a:lnTo>
                  <a:pt x="3610" y="3121"/>
                </a:lnTo>
                <a:lnTo>
                  <a:pt x="3610" y="2998"/>
                </a:lnTo>
                <a:lnTo>
                  <a:pt x="3696" y="2998"/>
                </a:lnTo>
                <a:lnTo>
                  <a:pt x="3696" y="2974"/>
                </a:lnTo>
                <a:lnTo>
                  <a:pt x="3610" y="2974"/>
                </a:lnTo>
                <a:lnTo>
                  <a:pt x="3610" y="2852"/>
                </a:lnTo>
                <a:lnTo>
                  <a:pt x="3696" y="2852"/>
                </a:lnTo>
                <a:lnTo>
                  <a:pt x="3696" y="2815"/>
                </a:lnTo>
                <a:lnTo>
                  <a:pt x="3610" y="2815"/>
                </a:lnTo>
                <a:lnTo>
                  <a:pt x="3610" y="2680"/>
                </a:lnTo>
                <a:lnTo>
                  <a:pt x="3696" y="2680"/>
                </a:lnTo>
                <a:lnTo>
                  <a:pt x="3696" y="2656"/>
                </a:lnTo>
                <a:lnTo>
                  <a:pt x="3610" y="2656"/>
                </a:lnTo>
                <a:lnTo>
                  <a:pt x="3610" y="2509"/>
                </a:lnTo>
                <a:lnTo>
                  <a:pt x="3696" y="2509"/>
                </a:lnTo>
                <a:lnTo>
                  <a:pt x="3696" y="2484"/>
                </a:lnTo>
                <a:lnTo>
                  <a:pt x="3610" y="2484"/>
                </a:lnTo>
                <a:lnTo>
                  <a:pt x="3610" y="2276"/>
                </a:lnTo>
                <a:lnTo>
                  <a:pt x="3561" y="2276"/>
                </a:lnTo>
                <a:lnTo>
                  <a:pt x="3561" y="2484"/>
                </a:lnTo>
                <a:lnTo>
                  <a:pt x="3390" y="2484"/>
                </a:lnTo>
                <a:lnTo>
                  <a:pt x="3390" y="2276"/>
                </a:lnTo>
                <a:lnTo>
                  <a:pt x="3329" y="2276"/>
                </a:lnTo>
                <a:lnTo>
                  <a:pt x="3329" y="2484"/>
                </a:lnTo>
                <a:lnTo>
                  <a:pt x="3158" y="2484"/>
                </a:lnTo>
                <a:lnTo>
                  <a:pt x="3158" y="2276"/>
                </a:lnTo>
                <a:lnTo>
                  <a:pt x="3109" y="2276"/>
                </a:lnTo>
                <a:lnTo>
                  <a:pt x="3109" y="2484"/>
                </a:lnTo>
                <a:lnTo>
                  <a:pt x="2937" y="2484"/>
                </a:lnTo>
                <a:lnTo>
                  <a:pt x="2937" y="2276"/>
                </a:lnTo>
                <a:lnTo>
                  <a:pt x="2876" y="2276"/>
                </a:lnTo>
                <a:lnTo>
                  <a:pt x="2876" y="2607"/>
                </a:lnTo>
                <a:lnTo>
                  <a:pt x="2717" y="2607"/>
                </a:lnTo>
                <a:lnTo>
                  <a:pt x="2717" y="2276"/>
                </a:lnTo>
                <a:lnTo>
                  <a:pt x="2656" y="2276"/>
                </a:lnTo>
                <a:lnTo>
                  <a:pt x="2656" y="2692"/>
                </a:lnTo>
                <a:lnTo>
                  <a:pt x="2484" y="2692"/>
                </a:lnTo>
                <a:lnTo>
                  <a:pt x="2484" y="2276"/>
                </a:lnTo>
                <a:lnTo>
                  <a:pt x="2423" y="2276"/>
                </a:lnTo>
                <a:lnTo>
                  <a:pt x="2423" y="2815"/>
                </a:lnTo>
                <a:lnTo>
                  <a:pt x="2264" y="2815"/>
                </a:lnTo>
                <a:lnTo>
                  <a:pt x="2264" y="2276"/>
                </a:lnTo>
                <a:lnTo>
                  <a:pt x="2203" y="2276"/>
                </a:lnTo>
                <a:lnTo>
                  <a:pt x="2203" y="2815"/>
                </a:lnTo>
                <a:lnTo>
                  <a:pt x="2068" y="2815"/>
                </a:lnTo>
                <a:lnTo>
                  <a:pt x="2068" y="2852"/>
                </a:lnTo>
                <a:lnTo>
                  <a:pt x="2203" y="2852"/>
                </a:lnTo>
                <a:lnTo>
                  <a:pt x="2203" y="2974"/>
                </a:lnTo>
                <a:lnTo>
                  <a:pt x="2068" y="2974"/>
                </a:lnTo>
                <a:lnTo>
                  <a:pt x="2068" y="2998"/>
                </a:lnTo>
                <a:lnTo>
                  <a:pt x="2203" y="2998"/>
                </a:lnTo>
                <a:lnTo>
                  <a:pt x="2203" y="3121"/>
                </a:lnTo>
                <a:lnTo>
                  <a:pt x="2068" y="3121"/>
                </a:lnTo>
                <a:lnTo>
                  <a:pt x="2068" y="3158"/>
                </a:lnTo>
                <a:lnTo>
                  <a:pt x="2203" y="3158"/>
                </a:lnTo>
                <a:lnTo>
                  <a:pt x="2203" y="3280"/>
                </a:lnTo>
                <a:lnTo>
                  <a:pt x="2068" y="3280"/>
                </a:lnTo>
                <a:lnTo>
                  <a:pt x="2068" y="3304"/>
                </a:lnTo>
                <a:lnTo>
                  <a:pt x="2203" y="3304"/>
                </a:lnTo>
                <a:lnTo>
                  <a:pt x="2203" y="3402"/>
                </a:lnTo>
                <a:lnTo>
                  <a:pt x="2068" y="3402"/>
                </a:lnTo>
                <a:lnTo>
                  <a:pt x="2068" y="3818"/>
                </a:lnTo>
                <a:lnTo>
                  <a:pt x="2044" y="3818"/>
                </a:lnTo>
                <a:lnTo>
                  <a:pt x="2044" y="3610"/>
                </a:lnTo>
                <a:lnTo>
                  <a:pt x="2044" y="3549"/>
                </a:lnTo>
                <a:lnTo>
                  <a:pt x="2044" y="3329"/>
                </a:lnTo>
                <a:lnTo>
                  <a:pt x="2044" y="3280"/>
                </a:lnTo>
                <a:lnTo>
                  <a:pt x="2044" y="3060"/>
                </a:lnTo>
                <a:lnTo>
                  <a:pt x="2044" y="2998"/>
                </a:lnTo>
                <a:lnTo>
                  <a:pt x="2044" y="2925"/>
                </a:lnTo>
                <a:lnTo>
                  <a:pt x="1995" y="2925"/>
                </a:lnTo>
                <a:lnTo>
                  <a:pt x="1995" y="2998"/>
                </a:lnTo>
                <a:lnTo>
                  <a:pt x="1762" y="2998"/>
                </a:lnTo>
                <a:lnTo>
                  <a:pt x="1762" y="2925"/>
                </a:lnTo>
                <a:lnTo>
                  <a:pt x="1701" y="2925"/>
                </a:lnTo>
                <a:lnTo>
                  <a:pt x="1701" y="3818"/>
                </a:lnTo>
                <a:lnTo>
                  <a:pt x="1579" y="3818"/>
                </a:lnTo>
                <a:lnTo>
                  <a:pt x="1579" y="3769"/>
                </a:lnTo>
                <a:lnTo>
                  <a:pt x="1640" y="3769"/>
                </a:lnTo>
                <a:lnTo>
                  <a:pt x="1640" y="3745"/>
                </a:lnTo>
                <a:lnTo>
                  <a:pt x="1579" y="3745"/>
                </a:lnTo>
                <a:lnTo>
                  <a:pt x="1579" y="3610"/>
                </a:lnTo>
                <a:lnTo>
                  <a:pt x="1640" y="3610"/>
                </a:lnTo>
                <a:lnTo>
                  <a:pt x="1640" y="3574"/>
                </a:lnTo>
                <a:lnTo>
                  <a:pt x="1579" y="3574"/>
                </a:lnTo>
                <a:lnTo>
                  <a:pt x="1579" y="3439"/>
                </a:lnTo>
                <a:lnTo>
                  <a:pt x="1640" y="3439"/>
                </a:lnTo>
                <a:lnTo>
                  <a:pt x="1640" y="3415"/>
                </a:lnTo>
                <a:lnTo>
                  <a:pt x="1579" y="3415"/>
                </a:lnTo>
                <a:lnTo>
                  <a:pt x="1579" y="3280"/>
                </a:lnTo>
                <a:lnTo>
                  <a:pt x="1640" y="3280"/>
                </a:lnTo>
                <a:lnTo>
                  <a:pt x="1640" y="3243"/>
                </a:lnTo>
                <a:lnTo>
                  <a:pt x="1579" y="3243"/>
                </a:lnTo>
                <a:lnTo>
                  <a:pt x="1579" y="3145"/>
                </a:lnTo>
                <a:lnTo>
                  <a:pt x="1628" y="3145"/>
                </a:lnTo>
                <a:lnTo>
                  <a:pt x="1628" y="3109"/>
                </a:lnTo>
                <a:lnTo>
                  <a:pt x="1579" y="3109"/>
                </a:lnTo>
                <a:lnTo>
                  <a:pt x="1579" y="2974"/>
                </a:lnTo>
                <a:lnTo>
                  <a:pt x="1628" y="2974"/>
                </a:lnTo>
                <a:lnTo>
                  <a:pt x="1628" y="2949"/>
                </a:lnTo>
                <a:lnTo>
                  <a:pt x="1579" y="2949"/>
                </a:lnTo>
                <a:lnTo>
                  <a:pt x="1579" y="2815"/>
                </a:lnTo>
                <a:lnTo>
                  <a:pt x="1628" y="2815"/>
                </a:lnTo>
                <a:lnTo>
                  <a:pt x="1628" y="2778"/>
                </a:lnTo>
                <a:lnTo>
                  <a:pt x="1579" y="2778"/>
                </a:lnTo>
                <a:lnTo>
                  <a:pt x="1579" y="2644"/>
                </a:lnTo>
                <a:lnTo>
                  <a:pt x="1628" y="2644"/>
                </a:lnTo>
                <a:lnTo>
                  <a:pt x="1628" y="2619"/>
                </a:lnTo>
                <a:lnTo>
                  <a:pt x="1579" y="2619"/>
                </a:lnTo>
                <a:lnTo>
                  <a:pt x="1579" y="2350"/>
                </a:lnTo>
                <a:lnTo>
                  <a:pt x="1542" y="2350"/>
                </a:lnTo>
                <a:lnTo>
                  <a:pt x="1542" y="2619"/>
                </a:lnTo>
                <a:lnTo>
                  <a:pt x="1456" y="2619"/>
                </a:lnTo>
                <a:lnTo>
                  <a:pt x="1456" y="2448"/>
                </a:lnTo>
                <a:lnTo>
                  <a:pt x="1432" y="2448"/>
                </a:lnTo>
                <a:lnTo>
                  <a:pt x="1432" y="2619"/>
                </a:lnTo>
                <a:lnTo>
                  <a:pt x="1358" y="2619"/>
                </a:lnTo>
                <a:lnTo>
                  <a:pt x="1358" y="2644"/>
                </a:lnTo>
                <a:lnTo>
                  <a:pt x="1432" y="2644"/>
                </a:lnTo>
                <a:lnTo>
                  <a:pt x="1432" y="2778"/>
                </a:lnTo>
                <a:lnTo>
                  <a:pt x="1358" y="2778"/>
                </a:lnTo>
                <a:lnTo>
                  <a:pt x="1358" y="2815"/>
                </a:lnTo>
                <a:lnTo>
                  <a:pt x="1432" y="2815"/>
                </a:lnTo>
                <a:lnTo>
                  <a:pt x="1432" y="2949"/>
                </a:lnTo>
                <a:lnTo>
                  <a:pt x="1358" y="2949"/>
                </a:lnTo>
                <a:lnTo>
                  <a:pt x="1358" y="2974"/>
                </a:lnTo>
                <a:lnTo>
                  <a:pt x="1432" y="2974"/>
                </a:lnTo>
                <a:lnTo>
                  <a:pt x="1432" y="3109"/>
                </a:lnTo>
                <a:lnTo>
                  <a:pt x="1358" y="3109"/>
                </a:lnTo>
                <a:lnTo>
                  <a:pt x="1358" y="3145"/>
                </a:lnTo>
                <a:lnTo>
                  <a:pt x="1432" y="3145"/>
                </a:lnTo>
                <a:lnTo>
                  <a:pt x="1432" y="3243"/>
                </a:lnTo>
                <a:lnTo>
                  <a:pt x="1358" y="3243"/>
                </a:lnTo>
                <a:lnTo>
                  <a:pt x="1358" y="3280"/>
                </a:lnTo>
                <a:lnTo>
                  <a:pt x="1432" y="3280"/>
                </a:lnTo>
                <a:lnTo>
                  <a:pt x="1432" y="3415"/>
                </a:lnTo>
                <a:lnTo>
                  <a:pt x="1358" y="3415"/>
                </a:lnTo>
                <a:lnTo>
                  <a:pt x="1358" y="3439"/>
                </a:lnTo>
                <a:lnTo>
                  <a:pt x="1432" y="3439"/>
                </a:lnTo>
                <a:lnTo>
                  <a:pt x="1432" y="3574"/>
                </a:lnTo>
                <a:lnTo>
                  <a:pt x="1358" y="3574"/>
                </a:lnTo>
                <a:lnTo>
                  <a:pt x="1358" y="3610"/>
                </a:lnTo>
                <a:lnTo>
                  <a:pt x="1432" y="3610"/>
                </a:lnTo>
                <a:lnTo>
                  <a:pt x="1432" y="3745"/>
                </a:lnTo>
                <a:lnTo>
                  <a:pt x="1358" y="3745"/>
                </a:lnTo>
                <a:lnTo>
                  <a:pt x="1358" y="3769"/>
                </a:lnTo>
                <a:lnTo>
                  <a:pt x="1432" y="3769"/>
                </a:lnTo>
                <a:lnTo>
                  <a:pt x="1432" y="3818"/>
                </a:lnTo>
                <a:lnTo>
                  <a:pt x="1138" y="3818"/>
                </a:lnTo>
                <a:lnTo>
                  <a:pt x="1138" y="2766"/>
                </a:lnTo>
                <a:lnTo>
                  <a:pt x="1138" y="2680"/>
                </a:lnTo>
                <a:lnTo>
                  <a:pt x="1138" y="1640"/>
                </a:lnTo>
                <a:lnTo>
                  <a:pt x="1065" y="1640"/>
                </a:lnTo>
                <a:lnTo>
                  <a:pt x="1065" y="930"/>
                </a:lnTo>
                <a:lnTo>
                  <a:pt x="1114" y="930"/>
                </a:lnTo>
                <a:lnTo>
                  <a:pt x="1114" y="844"/>
                </a:lnTo>
                <a:lnTo>
                  <a:pt x="1775" y="844"/>
                </a:lnTo>
                <a:lnTo>
                  <a:pt x="1823" y="844"/>
                </a:lnTo>
                <a:lnTo>
                  <a:pt x="2974" y="844"/>
                </a:lnTo>
                <a:lnTo>
                  <a:pt x="2974" y="808"/>
                </a:lnTo>
                <a:lnTo>
                  <a:pt x="2876" y="771"/>
                </a:lnTo>
                <a:lnTo>
                  <a:pt x="2876" y="771"/>
                </a:lnTo>
                <a:lnTo>
                  <a:pt x="930" y="0"/>
                </a:lnTo>
                <a:lnTo>
                  <a:pt x="281" y="600"/>
                </a:lnTo>
                <a:lnTo>
                  <a:pt x="281" y="587"/>
                </a:lnTo>
                <a:lnTo>
                  <a:pt x="0" y="587"/>
                </a:lnTo>
                <a:lnTo>
                  <a:pt x="0" y="893"/>
                </a:lnTo>
                <a:lnTo>
                  <a:pt x="281" y="893"/>
                </a:lnTo>
                <a:lnTo>
                  <a:pt x="281" y="844"/>
                </a:lnTo>
                <a:lnTo>
                  <a:pt x="771" y="844"/>
                </a:lnTo>
                <a:lnTo>
                  <a:pt x="771" y="930"/>
                </a:lnTo>
                <a:lnTo>
                  <a:pt x="820" y="930"/>
                </a:lnTo>
                <a:lnTo>
                  <a:pt x="820" y="967"/>
                </a:lnTo>
                <a:lnTo>
                  <a:pt x="820" y="1016"/>
                </a:lnTo>
                <a:lnTo>
                  <a:pt x="820" y="1163"/>
                </a:lnTo>
                <a:lnTo>
                  <a:pt x="820" y="1212"/>
                </a:lnTo>
                <a:lnTo>
                  <a:pt x="820" y="1371"/>
                </a:lnTo>
                <a:lnTo>
                  <a:pt x="820" y="1407"/>
                </a:lnTo>
                <a:lnTo>
                  <a:pt x="820" y="1640"/>
                </a:lnTo>
                <a:lnTo>
                  <a:pt x="759" y="1640"/>
                </a:lnTo>
                <a:lnTo>
                  <a:pt x="759" y="2680"/>
                </a:lnTo>
                <a:lnTo>
                  <a:pt x="759" y="2766"/>
                </a:lnTo>
                <a:lnTo>
                  <a:pt x="759" y="3818"/>
                </a:lnTo>
                <a:lnTo>
                  <a:pt x="355" y="3818"/>
                </a:lnTo>
                <a:lnTo>
                  <a:pt x="355" y="3990"/>
                </a:lnTo>
                <a:lnTo>
                  <a:pt x="9534" y="3990"/>
                </a:lnTo>
                <a:lnTo>
                  <a:pt x="9534" y="3818"/>
                </a:lnTo>
                <a:lnTo>
                  <a:pt x="9436" y="3818"/>
                </a:lnTo>
                <a:close/>
                <a:moveTo>
                  <a:pt x="5642" y="918"/>
                </a:moveTo>
                <a:lnTo>
                  <a:pt x="5495" y="918"/>
                </a:lnTo>
                <a:lnTo>
                  <a:pt x="5642" y="857"/>
                </a:lnTo>
                <a:lnTo>
                  <a:pt x="5642" y="918"/>
                </a:lnTo>
                <a:close/>
                <a:moveTo>
                  <a:pt x="5679" y="918"/>
                </a:moveTo>
                <a:lnTo>
                  <a:pt x="5679" y="844"/>
                </a:lnTo>
                <a:lnTo>
                  <a:pt x="5691" y="832"/>
                </a:lnTo>
                <a:lnTo>
                  <a:pt x="5777" y="918"/>
                </a:lnTo>
                <a:lnTo>
                  <a:pt x="5679" y="918"/>
                </a:lnTo>
                <a:close/>
                <a:moveTo>
                  <a:pt x="5789" y="906"/>
                </a:moveTo>
                <a:lnTo>
                  <a:pt x="5716" y="820"/>
                </a:lnTo>
                <a:lnTo>
                  <a:pt x="5789" y="795"/>
                </a:lnTo>
                <a:lnTo>
                  <a:pt x="5789" y="906"/>
                </a:lnTo>
                <a:close/>
                <a:moveTo>
                  <a:pt x="5813" y="808"/>
                </a:moveTo>
                <a:lnTo>
                  <a:pt x="5862" y="857"/>
                </a:lnTo>
                <a:lnTo>
                  <a:pt x="5813" y="893"/>
                </a:lnTo>
                <a:lnTo>
                  <a:pt x="5813" y="808"/>
                </a:lnTo>
                <a:close/>
                <a:moveTo>
                  <a:pt x="5838" y="783"/>
                </a:moveTo>
                <a:lnTo>
                  <a:pt x="5924" y="783"/>
                </a:lnTo>
                <a:lnTo>
                  <a:pt x="5875" y="832"/>
                </a:lnTo>
                <a:lnTo>
                  <a:pt x="5838" y="783"/>
                </a:lnTo>
                <a:close/>
                <a:moveTo>
                  <a:pt x="5826" y="918"/>
                </a:moveTo>
                <a:lnTo>
                  <a:pt x="5875" y="869"/>
                </a:lnTo>
                <a:lnTo>
                  <a:pt x="5924" y="918"/>
                </a:lnTo>
                <a:lnTo>
                  <a:pt x="5826" y="918"/>
                </a:lnTo>
                <a:close/>
                <a:moveTo>
                  <a:pt x="5936" y="893"/>
                </a:moveTo>
                <a:lnTo>
                  <a:pt x="5887" y="857"/>
                </a:lnTo>
                <a:lnTo>
                  <a:pt x="5936" y="808"/>
                </a:lnTo>
                <a:lnTo>
                  <a:pt x="5936" y="893"/>
                </a:lnTo>
                <a:close/>
                <a:moveTo>
                  <a:pt x="6009" y="857"/>
                </a:moveTo>
                <a:lnTo>
                  <a:pt x="5960" y="893"/>
                </a:lnTo>
                <a:lnTo>
                  <a:pt x="5960" y="808"/>
                </a:lnTo>
                <a:lnTo>
                  <a:pt x="6009" y="857"/>
                </a:lnTo>
                <a:close/>
                <a:moveTo>
                  <a:pt x="5973" y="783"/>
                </a:moveTo>
                <a:lnTo>
                  <a:pt x="6070" y="783"/>
                </a:lnTo>
                <a:lnTo>
                  <a:pt x="6021" y="832"/>
                </a:lnTo>
                <a:lnTo>
                  <a:pt x="5973" y="783"/>
                </a:lnTo>
                <a:close/>
                <a:moveTo>
                  <a:pt x="5973" y="918"/>
                </a:moveTo>
                <a:lnTo>
                  <a:pt x="6021" y="869"/>
                </a:lnTo>
                <a:lnTo>
                  <a:pt x="6070" y="918"/>
                </a:lnTo>
                <a:lnTo>
                  <a:pt x="5973" y="918"/>
                </a:lnTo>
                <a:close/>
                <a:moveTo>
                  <a:pt x="6083" y="893"/>
                </a:moveTo>
                <a:lnTo>
                  <a:pt x="6034" y="857"/>
                </a:lnTo>
                <a:lnTo>
                  <a:pt x="6083" y="808"/>
                </a:lnTo>
                <a:lnTo>
                  <a:pt x="6083" y="893"/>
                </a:lnTo>
                <a:close/>
                <a:moveTo>
                  <a:pt x="6156" y="857"/>
                </a:moveTo>
                <a:lnTo>
                  <a:pt x="6107" y="893"/>
                </a:lnTo>
                <a:lnTo>
                  <a:pt x="6107" y="808"/>
                </a:lnTo>
                <a:lnTo>
                  <a:pt x="6156" y="857"/>
                </a:lnTo>
                <a:close/>
                <a:moveTo>
                  <a:pt x="6119" y="783"/>
                </a:moveTo>
                <a:lnTo>
                  <a:pt x="6217" y="783"/>
                </a:lnTo>
                <a:lnTo>
                  <a:pt x="6168" y="832"/>
                </a:lnTo>
                <a:lnTo>
                  <a:pt x="6119" y="783"/>
                </a:lnTo>
                <a:close/>
                <a:moveTo>
                  <a:pt x="6119" y="918"/>
                </a:moveTo>
                <a:lnTo>
                  <a:pt x="6168" y="869"/>
                </a:lnTo>
                <a:lnTo>
                  <a:pt x="6217" y="918"/>
                </a:lnTo>
                <a:lnTo>
                  <a:pt x="6119" y="918"/>
                </a:lnTo>
                <a:close/>
                <a:moveTo>
                  <a:pt x="6217" y="893"/>
                </a:moveTo>
                <a:lnTo>
                  <a:pt x="6181" y="857"/>
                </a:lnTo>
                <a:lnTo>
                  <a:pt x="6217" y="808"/>
                </a:lnTo>
                <a:lnTo>
                  <a:pt x="6217" y="893"/>
                </a:lnTo>
                <a:close/>
                <a:moveTo>
                  <a:pt x="6303" y="857"/>
                </a:moveTo>
                <a:lnTo>
                  <a:pt x="6254" y="893"/>
                </a:lnTo>
                <a:lnTo>
                  <a:pt x="6254" y="808"/>
                </a:lnTo>
                <a:lnTo>
                  <a:pt x="6303" y="857"/>
                </a:lnTo>
                <a:close/>
                <a:moveTo>
                  <a:pt x="6266" y="783"/>
                </a:moveTo>
                <a:lnTo>
                  <a:pt x="6352" y="783"/>
                </a:lnTo>
                <a:lnTo>
                  <a:pt x="6315" y="832"/>
                </a:lnTo>
                <a:lnTo>
                  <a:pt x="6266" y="783"/>
                </a:lnTo>
                <a:close/>
                <a:moveTo>
                  <a:pt x="6266" y="918"/>
                </a:moveTo>
                <a:lnTo>
                  <a:pt x="6315" y="869"/>
                </a:lnTo>
                <a:lnTo>
                  <a:pt x="6364" y="918"/>
                </a:lnTo>
                <a:lnTo>
                  <a:pt x="6266" y="918"/>
                </a:lnTo>
                <a:close/>
                <a:moveTo>
                  <a:pt x="6376" y="906"/>
                </a:moveTo>
                <a:lnTo>
                  <a:pt x="6327" y="857"/>
                </a:lnTo>
                <a:lnTo>
                  <a:pt x="6376" y="795"/>
                </a:lnTo>
                <a:lnTo>
                  <a:pt x="6376" y="906"/>
                </a:lnTo>
                <a:close/>
                <a:moveTo>
                  <a:pt x="6450" y="857"/>
                </a:moveTo>
                <a:lnTo>
                  <a:pt x="6401" y="893"/>
                </a:lnTo>
                <a:lnTo>
                  <a:pt x="6401" y="808"/>
                </a:lnTo>
                <a:lnTo>
                  <a:pt x="6450" y="857"/>
                </a:lnTo>
                <a:close/>
                <a:moveTo>
                  <a:pt x="6413" y="783"/>
                </a:moveTo>
                <a:lnTo>
                  <a:pt x="6425" y="783"/>
                </a:lnTo>
                <a:lnTo>
                  <a:pt x="6511" y="783"/>
                </a:lnTo>
                <a:lnTo>
                  <a:pt x="6462" y="832"/>
                </a:lnTo>
                <a:lnTo>
                  <a:pt x="6413" y="783"/>
                </a:lnTo>
                <a:close/>
                <a:moveTo>
                  <a:pt x="6425" y="918"/>
                </a:moveTo>
                <a:lnTo>
                  <a:pt x="6413" y="918"/>
                </a:lnTo>
                <a:lnTo>
                  <a:pt x="6462" y="869"/>
                </a:lnTo>
                <a:lnTo>
                  <a:pt x="6511" y="918"/>
                </a:lnTo>
                <a:lnTo>
                  <a:pt x="6425" y="918"/>
                </a:lnTo>
                <a:close/>
                <a:moveTo>
                  <a:pt x="6523" y="893"/>
                </a:moveTo>
                <a:lnTo>
                  <a:pt x="6474" y="857"/>
                </a:lnTo>
                <a:lnTo>
                  <a:pt x="6523" y="808"/>
                </a:lnTo>
                <a:lnTo>
                  <a:pt x="6523" y="893"/>
                </a:lnTo>
                <a:close/>
                <a:moveTo>
                  <a:pt x="6597" y="857"/>
                </a:moveTo>
                <a:lnTo>
                  <a:pt x="6548" y="893"/>
                </a:lnTo>
                <a:lnTo>
                  <a:pt x="6548" y="808"/>
                </a:lnTo>
                <a:lnTo>
                  <a:pt x="6597" y="857"/>
                </a:lnTo>
                <a:close/>
                <a:moveTo>
                  <a:pt x="6560" y="783"/>
                </a:moveTo>
                <a:lnTo>
                  <a:pt x="6658" y="783"/>
                </a:lnTo>
                <a:lnTo>
                  <a:pt x="6609" y="832"/>
                </a:lnTo>
                <a:lnTo>
                  <a:pt x="6560" y="783"/>
                </a:lnTo>
                <a:close/>
                <a:moveTo>
                  <a:pt x="6560" y="918"/>
                </a:moveTo>
                <a:lnTo>
                  <a:pt x="6609" y="869"/>
                </a:lnTo>
                <a:lnTo>
                  <a:pt x="6658" y="918"/>
                </a:lnTo>
                <a:lnTo>
                  <a:pt x="6560" y="918"/>
                </a:lnTo>
                <a:close/>
                <a:moveTo>
                  <a:pt x="6658" y="893"/>
                </a:moveTo>
                <a:lnTo>
                  <a:pt x="6621" y="857"/>
                </a:lnTo>
                <a:lnTo>
                  <a:pt x="6658" y="808"/>
                </a:lnTo>
                <a:lnTo>
                  <a:pt x="6658" y="893"/>
                </a:lnTo>
                <a:close/>
                <a:moveTo>
                  <a:pt x="6744" y="857"/>
                </a:moveTo>
                <a:lnTo>
                  <a:pt x="6695" y="893"/>
                </a:lnTo>
                <a:lnTo>
                  <a:pt x="6695" y="808"/>
                </a:lnTo>
                <a:lnTo>
                  <a:pt x="6744" y="857"/>
                </a:lnTo>
                <a:close/>
                <a:moveTo>
                  <a:pt x="6707" y="783"/>
                </a:moveTo>
                <a:lnTo>
                  <a:pt x="6793" y="783"/>
                </a:lnTo>
                <a:lnTo>
                  <a:pt x="6756" y="832"/>
                </a:lnTo>
                <a:lnTo>
                  <a:pt x="6707" y="783"/>
                </a:lnTo>
                <a:close/>
                <a:moveTo>
                  <a:pt x="6707" y="918"/>
                </a:moveTo>
                <a:lnTo>
                  <a:pt x="6756" y="869"/>
                </a:lnTo>
                <a:lnTo>
                  <a:pt x="6805" y="918"/>
                </a:lnTo>
                <a:lnTo>
                  <a:pt x="6707" y="918"/>
                </a:lnTo>
                <a:close/>
                <a:moveTo>
                  <a:pt x="6805" y="893"/>
                </a:moveTo>
                <a:lnTo>
                  <a:pt x="6768" y="857"/>
                </a:lnTo>
                <a:lnTo>
                  <a:pt x="6805" y="808"/>
                </a:lnTo>
                <a:lnTo>
                  <a:pt x="6805" y="893"/>
                </a:lnTo>
                <a:close/>
                <a:moveTo>
                  <a:pt x="6878" y="857"/>
                </a:moveTo>
                <a:lnTo>
                  <a:pt x="6842" y="893"/>
                </a:lnTo>
                <a:lnTo>
                  <a:pt x="6842" y="808"/>
                </a:lnTo>
                <a:lnTo>
                  <a:pt x="6878" y="857"/>
                </a:lnTo>
                <a:close/>
                <a:moveTo>
                  <a:pt x="6854" y="783"/>
                </a:moveTo>
                <a:lnTo>
                  <a:pt x="6939" y="783"/>
                </a:lnTo>
                <a:lnTo>
                  <a:pt x="6903" y="832"/>
                </a:lnTo>
                <a:lnTo>
                  <a:pt x="6854" y="783"/>
                </a:lnTo>
                <a:close/>
                <a:moveTo>
                  <a:pt x="6854" y="918"/>
                </a:moveTo>
                <a:lnTo>
                  <a:pt x="6903" y="869"/>
                </a:lnTo>
                <a:lnTo>
                  <a:pt x="6939" y="918"/>
                </a:lnTo>
                <a:lnTo>
                  <a:pt x="6854" y="918"/>
                </a:lnTo>
                <a:close/>
                <a:moveTo>
                  <a:pt x="7001" y="918"/>
                </a:moveTo>
                <a:lnTo>
                  <a:pt x="6976" y="918"/>
                </a:lnTo>
                <a:lnTo>
                  <a:pt x="6915" y="857"/>
                </a:lnTo>
                <a:lnTo>
                  <a:pt x="6976" y="783"/>
                </a:lnTo>
                <a:lnTo>
                  <a:pt x="7001" y="783"/>
                </a:lnTo>
                <a:lnTo>
                  <a:pt x="7001" y="918"/>
                </a:lnTo>
                <a:close/>
                <a:moveTo>
                  <a:pt x="7037" y="306"/>
                </a:moveTo>
                <a:lnTo>
                  <a:pt x="7037" y="343"/>
                </a:lnTo>
                <a:lnTo>
                  <a:pt x="7037" y="673"/>
                </a:lnTo>
                <a:lnTo>
                  <a:pt x="7001" y="673"/>
                </a:lnTo>
                <a:lnTo>
                  <a:pt x="7001" y="759"/>
                </a:lnTo>
                <a:lnTo>
                  <a:pt x="6842" y="759"/>
                </a:lnTo>
                <a:lnTo>
                  <a:pt x="6805" y="759"/>
                </a:lnTo>
                <a:lnTo>
                  <a:pt x="6695" y="759"/>
                </a:lnTo>
                <a:lnTo>
                  <a:pt x="6658" y="759"/>
                </a:lnTo>
                <a:lnTo>
                  <a:pt x="6548" y="759"/>
                </a:lnTo>
                <a:lnTo>
                  <a:pt x="6523" y="759"/>
                </a:lnTo>
                <a:lnTo>
                  <a:pt x="6425" y="759"/>
                </a:lnTo>
                <a:lnTo>
                  <a:pt x="6401" y="759"/>
                </a:lnTo>
                <a:lnTo>
                  <a:pt x="6376" y="759"/>
                </a:lnTo>
                <a:lnTo>
                  <a:pt x="6376" y="759"/>
                </a:lnTo>
                <a:lnTo>
                  <a:pt x="6254" y="759"/>
                </a:lnTo>
                <a:lnTo>
                  <a:pt x="6217" y="759"/>
                </a:lnTo>
                <a:lnTo>
                  <a:pt x="6107" y="759"/>
                </a:lnTo>
                <a:lnTo>
                  <a:pt x="6083" y="759"/>
                </a:lnTo>
                <a:lnTo>
                  <a:pt x="5960" y="759"/>
                </a:lnTo>
                <a:lnTo>
                  <a:pt x="5936" y="759"/>
                </a:lnTo>
                <a:lnTo>
                  <a:pt x="5875" y="759"/>
                </a:lnTo>
                <a:lnTo>
                  <a:pt x="7037" y="257"/>
                </a:lnTo>
                <a:lnTo>
                  <a:pt x="7037" y="306"/>
                </a:lnTo>
                <a:close/>
                <a:moveTo>
                  <a:pt x="5165" y="1750"/>
                </a:moveTo>
                <a:lnTo>
                  <a:pt x="5238" y="1750"/>
                </a:lnTo>
                <a:lnTo>
                  <a:pt x="5238" y="1885"/>
                </a:lnTo>
                <a:lnTo>
                  <a:pt x="5165" y="1885"/>
                </a:lnTo>
                <a:lnTo>
                  <a:pt x="5165" y="1750"/>
                </a:lnTo>
                <a:close/>
                <a:moveTo>
                  <a:pt x="5165" y="1909"/>
                </a:moveTo>
                <a:lnTo>
                  <a:pt x="5238" y="1909"/>
                </a:lnTo>
                <a:lnTo>
                  <a:pt x="5238" y="2044"/>
                </a:lnTo>
                <a:lnTo>
                  <a:pt x="5165" y="2044"/>
                </a:lnTo>
                <a:lnTo>
                  <a:pt x="5165" y="1909"/>
                </a:lnTo>
                <a:close/>
                <a:moveTo>
                  <a:pt x="5165" y="2081"/>
                </a:moveTo>
                <a:lnTo>
                  <a:pt x="5238" y="2081"/>
                </a:lnTo>
                <a:lnTo>
                  <a:pt x="5238" y="2203"/>
                </a:lnTo>
                <a:lnTo>
                  <a:pt x="5165" y="2203"/>
                </a:lnTo>
                <a:lnTo>
                  <a:pt x="5165" y="2081"/>
                </a:lnTo>
                <a:close/>
                <a:moveTo>
                  <a:pt x="5165" y="2240"/>
                </a:moveTo>
                <a:lnTo>
                  <a:pt x="5238" y="2240"/>
                </a:lnTo>
                <a:lnTo>
                  <a:pt x="5238" y="2350"/>
                </a:lnTo>
                <a:lnTo>
                  <a:pt x="5165" y="2350"/>
                </a:lnTo>
                <a:lnTo>
                  <a:pt x="5165" y="2240"/>
                </a:lnTo>
                <a:close/>
                <a:moveTo>
                  <a:pt x="5165" y="2374"/>
                </a:moveTo>
                <a:lnTo>
                  <a:pt x="5238" y="2374"/>
                </a:lnTo>
                <a:lnTo>
                  <a:pt x="5238" y="2509"/>
                </a:lnTo>
                <a:lnTo>
                  <a:pt x="5165" y="2509"/>
                </a:lnTo>
                <a:lnTo>
                  <a:pt x="5165" y="2374"/>
                </a:lnTo>
                <a:close/>
                <a:moveTo>
                  <a:pt x="5165" y="2546"/>
                </a:moveTo>
                <a:lnTo>
                  <a:pt x="5238" y="2546"/>
                </a:lnTo>
                <a:lnTo>
                  <a:pt x="5238" y="2680"/>
                </a:lnTo>
                <a:lnTo>
                  <a:pt x="5165" y="2680"/>
                </a:lnTo>
                <a:lnTo>
                  <a:pt x="5165" y="2546"/>
                </a:lnTo>
                <a:close/>
                <a:moveTo>
                  <a:pt x="5165" y="2705"/>
                </a:moveTo>
                <a:lnTo>
                  <a:pt x="5238" y="2705"/>
                </a:lnTo>
                <a:lnTo>
                  <a:pt x="5238" y="2839"/>
                </a:lnTo>
                <a:lnTo>
                  <a:pt x="5165" y="2839"/>
                </a:lnTo>
                <a:lnTo>
                  <a:pt x="5165" y="2705"/>
                </a:lnTo>
                <a:close/>
                <a:moveTo>
                  <a:pt x="3390" y="2509"/>
                </a:moveTo>
                <a:lnTo>
                  <a:pt x="3561" y="2509"/>
                </a:lnTo>
                <a:lnTo>
                  <a:pt x="3561" y="2656"/>
                </a:lnTo>
                <a:lnTo>
                  <a:pt x="3390" y="2656"/>
                </a:lnTo>
                <a:lnTo>
                  <a:pt x="3390" y="2509"/>
                </a:lnTo>
                <a:close/>
                <a:moveTo>
                  <a:pt x="3390" y="2680"/>
                </a:moveTo>
                <a:lnTo>
                  <a:pt x="3561" y="2680"/>
                </a:lnTo>
                <a:lnTo>
                  <a:pt x="3561" y="2815"/>
                </a:lnTo>
                <a:lnTo>
                  <a:pt x="3390" y="2815"/>
                </a:lnTo>
                <a:lnTo>
                  <a:pt x="3390" y="2680"/>
                </a:lnTo>
                <a:close/>
                <a:moveTo>
                  <a:pt x="3390" y="2852"/>
                </a:moveTo>
                <a:lnTo>
                  <a:pt x="3561" y="2852"/>
                </a:lnTo>
                <a:lnTo>
                  <a:pt x="3561" y="2974"/>
                </a:lnTo>
                <a:lnTo>
                  <a:pt x="3390" y="2974"/>
                </a:lnTo>
                <a:lnTo>
                  <a:pt x="3390" y="2852"/>
                </a:lnTo>
                <a:close/>
                <a:moveTo>
                  <a:pt x="3390" y="2998"/>
                </a:moveTo>
                <a:lnTo>
                  <a:pt x="3561" y="2998"/>
                </a:lnTo>
                <a:lnTo>
                  <a:pt x="3561" y="3121"/>
                </a:lnTo>
                <a:lnTo>
                  <a:pt x="3390" y="3121"/>
                </a:lnTo>
                <a:lnTo>
                  <a:pt x="3390" y="2998"/>
                </a:lnTo>
                <a:close/>
                <a:moveTo>
                  <a:pt x="3390" y="3158"/>
                </a:moveTo>
                <a:lnTo>
                  <a:pt x="3561" y="3158"/>
                </a:lnTo>
                <a:lnTo>
                  <a:pt x="3561" y="3280"/>
                </a:lnTo>
                <a:lnTo>
                  <a:pt x="3390" y="3280"/>
                </a:lnTo>
                <a:lnTo>
                  <a:pt x="3390" y="3158"/>
                </a:lnTo>
                <a:close/>
                <a:moveTo>
                  <a:pt x="3390" y="3304"/>
                </a:moveTo>
                <a:lnTo>
                  <a:pt x="3561" y="3304"/>
                </a:lnTo>
                <a:lnTo>
                  <a:pt x="3561" y="3402"/>
                </a:lnTo>
                <a:lnTo>
                  <a:pt x="3390" y="3402"/>
                </a:lnTo>
                <a:lnTo>
                  <a:pt x="3390" y="3304"/>
                </a:lnTo>
                <a:close/>
                <a:moveTo>
                  <a:pt x="3158" y="2509"/>
                </a:moveTo>
                <a:lnTo>
                  <a:pt x="3329" y="2509"/>
                </a:lnTo>
                <a:lnTo>
                  <a:pt x="3329" y="2656"/>
                </a:lnTo>
                <a:lnTo>
                  <a:pt x="3158" y="2656"/>
                </a:lnTo>
                <a:lnTo>
                  <a:pt x="3158" y="2509"/>
                </a:lnTo>
                <a:close/>
                <a:moveTo>
                  <a:pt x="3158" y="2680"/>
                </a:moveTo>
                <a:lnTo>
                  <a:pt x="3329" y="2680"/>
                </a:lnTo>
                <a:lnTo>
                  <a:pt x="3329" y="2815"/>
                </a:lnTo>
                <a:lnTo>
                  <a:pt x="3158" y="2815"/>
                </a:lnTo>
                <a:lnTo>
                  <a:pt x="3158" y="2680"/>
                </a:lnTo>
                <a:close/>
                <a:moveTo>
                  <a:pt x="3158" y="2852"/>
                </a:moveTo>
                <a:lnTo>
                  <a:pt x="3329" y="2852"/>
                </a:lnTo>
                <a:lnTo>
                  <a:pt x="3329" y="2974"/>
                </a:lnTo>
                <a:lnTo>
                  <a:pt x="3158" y="2974"/>
                </a:lnTo>
                <a:lnTo>
                  <a:pt x="3158" y="2852"/>
                </a:lnTo>
                <a:close/>
                <a:moveTo>
                  <a:pt x="3158" y="2998"/>
                </a:moveTo>
                <a:lnTo>
                  <a:pt x="3329" y="2998"/>
                </a:lnTo>
                <a:lnTo>
                  <a:pt x="3329" y="3121"/>
                </a:lnTo>
                <a:lnTo>
                  <a:pt x="3158" y="3121"/>
                </a:lnTo>
                <a:lnTo>
                  <a:pt x="3158" y="2998"/>
                </a:lnTo>
                <a:close/>
                <a:moveTo>
                  <a:pt x="3158" y="3158"/>
                </a:moveTo>
                <a:lnTo>
                  <a:pt x="3329" y="3158"/>
                </a:lnTo>
                <a:lnTo>
                  <a:pt x="3329" y="3280"/>
                </a:lnTo>
                <a:lnTo>
                  <a:pt x="3158" y="3280"/>
                </a:lnTo>
                <a:lnTo>
                  <a:pt x="3158" y="3158"/>
                </a:lnTo>
                <a:close/>
                <a:moveTo>
                  <a:pt x="3158" y="3304"/>
                </a:moveTo>
                <a:lnTo>
                  <a:pt x="3329" y="3304"/>
                </a:lnTo>
                <a:lnTo>
                  <a:pt x="3329" y="3402"/>
                </a:lnTo>
                <a:lnTo>
                  <a:pt x="3158" y="3402"/>
                </a:lnTo>
                <a:lnTo>
                  <a:pt x="3158" y="3304"/>
                </a:lnTo>
                <a:close/>
                <a:moveTo>
                  <a:pt x="2937" y="2509"/>
                </a:moveTo>
                <a:lnTo>
                  <a:pt x="3109" y="2509"/>
                </a:lnTo>
                <a:lnTo>
                  <a:pt x="3109" y="2656"/>
                </a:lnTo>
                <a:lnTo>
                  <a:pt x="2937" y="2656"/>
                </a:lnTo>
                <a:lnTo>
                  <a:pt x="2937" y="2509"/>
                </a:lnTo>
                <a:close/>
                <a:moveTo>
                  <a:pt x="2937" y="2680"/>
                </a:moveTo>
                <a:lnTo>
                  <a:pt x="3109" y="2680"/>
                </a:lnTo>
                <a:lnTo>
                  <a:pt x="3109" y="2815"/>
                </a:lnTo>
                <a:lnTo>
                  <a:pt x="2937" y="2815"/>
                </a:lnTo>
                <a:lnTo>
                  <a:pt x="2937" y="2680"/>
                </a:lnTo>
                <a:close/>
                <a:moveTo>
                  <a:pt x="2937" y="2852"/>
                </a:moveTo>
                <a:lnTo>
                  <a:pt x="3109" y="2852"/>
                </a:lnTo>
                <a:lnTo>
                  <a:pt x="3109" y="2974"/>
                </a:lnTo>
                <a:lnTo>
                  <a:pt x="2937" y="2974"/>
                </a:lnTo>
                <a:lnTo>
                  <a:pt x="2937" y="2852"/>
                </a:lnTo>
                <a:close/>
                <a:moveTo>
                  <a:pt x="2937" y="2998"/>
                </a:moveTo>
                <a:lnTo>
                  <a:pt x="3109" y="2998"/>
                </a:lnTo>
                <a:lnTo>
                  <a:pt x="3109" y="3121"/>
                </a:lnTo>
                <a:lnTo>
                  <a:pt x="2937" y="3121"/>
                </a:lnTo>
                <a:lnTo>
                  <a:pt x="2937" y="2998"/>
                </a:lnTo>
                <a:close/>
                <a:moveTo>
                  <a:pt x="2937" y="3158"/>
                </a:moveTo>
                <a:lnTo>
                  <a:pt x="3109" y="3158"/>
                </a:lnTo>
                <a:lnTo>
                  <a:pt x="3109" y="3280"/>
                </a:lnTo>
                <a:lnTo>
                  <a:pt x="2937" y="3280"/>
                </a:lnTo>
                <a:lnTo>
                  <a:pt x="2937" y="3158"/>
                </a:lnTo>
                <a:close/>
                <a:moveTo>
                  <a:pt x="2937" y="3304"/>
                </a:moveTo>
                <a:lnTo>
                  <a:pt x="3109" y="3304"/>
                </a:lnTo>
                <a:lnTo>
                  <a:pt x="3109" y="3402"/>
                </a:lnTo>
                <a:lnTo>
                  <a:pt x="2937" y="3402"/>
                </a:lnTo>
                <a:lnTo>
                  <a:pt x="2937" y="3304"/>
                </a:lnTo>
                <a:close/>
                <a:moveTo>
                  <a:pt x="2717" y="2852"/>
                </a:moveTo>
                <a:lnTo>
                  <a:pt x="2876" y="2852"/>
                </a:lnTo>
                <a:lnTo>
                  <a:pt x="2876" y="2974"/>
                </a:lnTo>
                <a:lnTo>
                  <a:pt x="2717" y="2974"/>
                </a:lnTo>
                <a:lnTo>
                  <a:pt x="2717" y="2852"/>
                </a:lnTo>
                <a:close/>
                <a:moveTo>
                  <a:pt x="2717" y="2998"/>
                </a:moveTo>
                <a:lnTo>
                  <a:pt x="2876" y="2998"/>
                </a:lnTo>
                <a:lnTo>
                  <a:pt x="2876" y="3121"/>
                </a:lnTo>
                <a:lnTo>
                  <a:pt x="2717" y="3121"/>
                </a:lnTo>
                <a:lnTo>
                  <a:pt x="2717" y="2998"/>
                </a:lnTo>
                <a:close/>
                <a:moveTo>
                  <a:pt x="2717" y="3158"/>
                </a:moveTo>
                <a:lnTo>
                  <a:pt x="2876" y="3158"/>
                </a:lnTo>
                <a:lnTo>
                  <a:pt x="2876" y="3280"/>
                </a:lnTo>
                <a:lnTo>
                  <a:pt x="2717" y="3280"/>
                </a:lnTo>
                <a:lnTo>
                  <a:pt x="2717" y="3158"/>
                </a:lnTo>
                <a:close/>
                <a:moveTo>
                  <a:pt x="2717" y="3304"/>
                </a:moveTo>
                <a:lnTo>
                  <a:pt x="2876" y="3304"/>
                </a:lnTo>
                <a:lnTo>
                  <a:pt x="2876" y="3402"/>
                </a:lnTo>
                <a:lnTo>
                  <a:pt x="2717" y="3402"/>
                </a:lnTo>
                <a:lnTo>
                  <a:pt x="2717" y="3304"/>
                </a:lnTo>
                <a:close/>
                <a:moveTo>
                  <a:pt x="2484" y="2852"/>
                </a:moveTo>
                <a:lnTo>
                  <a:pt x="2656" y="2852"/>
                </a:lnTo>
                <a:lnTo>
                  <a:pt x="2656" y="2974"/>
                </a:lnTo>
                <a:lnTo>
                  <a:pt x="2484" y="2974"/>
                </a:lnTo>
                <a:lnTo>
                  <a:pt x="2484" y="2852"/>
                </a:lnTo>
                <a:close/>
                <a:moveTo>
                  <a:pt x="2484" y="2998"/>
                </a:moveTo>
                <a:lnTo>
                  <a:pt x="2656" y="2998"/>
                </a:lnTo>
                <a:lnTo>
                  <a:pt x="2656" y="3121"/>
                </a:lnTo>
                <a:lnTo>
                  <a:pt x="2484" y="3121"/>
                </a:lnTo>
                <a:lnTo>
                  <a:pt x="2484" y="2998"/>
                </a:lnTo>
                <a:close/>
                <a:moveTo>
                  <a:pt x="2484" y="3158"/>
                </a:moveTo>
                <a:lnTo>
                  <a:pt x="2656" y="3158"/>
                </a:lnTo>
                <a:lnTo>
                  <a:pt x="2656" y="3280"/>
                </a:lnTo>
                <a:lnTo>
                  <a:pt x="2484" y="3280"/>
                </a:lnTo>
                <a:lnTo>
                  <a:pt x="2484" y="3158"/>
                </a:lnTo>
                <a:close/>
                <a:moveTo>
                  <a:pt x="2484" y="3304"/>
                </a:moveTo>
                <a:lnTo>
                  <a:pt x="2656" y="3304"/>
                </a:lnTo>
                <a:lnTo>
                  <a:pt x="2656" y="3402"/>
                </a:lnTo>
                <a:lnTo>
                  <a:pt x="2484" y="3402"/>
                </a:lnTo>
                <a:lnTo>
                  <a:pt x="2484" y="3304"/>
                </a:lnTo>
                <a:close/>
                <a:moveTo>
                  <a:pt x="2264" y="2852"/>
                </a:moveTo>
                <a:lnTo>
                  <a:pt x="2423" y="2852"/>
                </a:lnTo>
                <a:lnTo>
                  <a:pt x="2423" y="2974"/>
                </a:lnTo>
                <a:lnTo>
                  <a:pt x="2264" y="2974"/>
                </a:lnTo>
                <a:lnTo>
                  <a:pt x="2264" y="2852"/>
                </a:lnTo>
                <a:close/>
                <a:moveTo>
                  <a:pt x="2264" y="2998"/>
                </a:moveTo>
                <a:lnTo>
                  <a:pt x="2423" y="2998"/>
                </a:lnTo>
                <a:lnTo>
                  <a:pt x="2423" y="3121"/>
                </a:lnTo>
                <a:lnTo>
                  <a:pt x="2264" y="3121"/>
                </a:lnTo>
                <a:lnTo>
                  <a:pt x="2264" y="2998"/>
                </a:lnTo>
                <a:close/>
                <a:moveTo>
                  <a:pt x="2264" y="3158"/>
                </a:moveTo>
                <a:lnTo>
                  <a:pt x="2423" y="3158"/>
                </a:lnTo>
                <a:lnTo>
                  <a:pt x="2423" y="3280"/>
                </a:lnTo>
                <a:lnTo>
                  <a:pt x="2264" y="3280"/>
                </a:lnTo>
                <a:lnTo>
                  <a:pt x="2264" y="3158"/>
                </a:lnTo>
                <a:close/>
                <a:moveTo>
                  <a:pt x="2264" y="3304"/>
                </a:moveTo>
                <a:lnTo>
                  <a:pt x="2423" y="3304"/>
                </a:lnTo>
                <a:lnTo>
                  <a:pt x="2423" y="3402"/>
                </a:lnTo>
                <a:lnTo>
                  <a:pt x="2264" y="3402"/>
                </a:lnTo>
                <a:lnTo>
                  <a:pt x="2264" y="3304"/>
                </a:lnTo>
                <a:close/>
                <a:moveTo>
                  <a:pt x="1114" y="808"/>
                </a:moveTo>
                <a:lnTo>
                  <a:pt x="1114" y="673"/>
                </a:lnTo>
                <a:lnTo>
                  <a:pt x="1150" y="673"/>
                </a:lnTo>
                <a:lnTo>
                  <a:pt x="1212" y="734"/>
                </a:lnTo>
                <a:lnTo>
                  <a:pt x="1138" y="808"/>
                </a:lnTo>
                <a:lnTo>
                  <a:pt x="1114" y="808"/>
                </a:lnTo>
                <a:close/>
                <a:moveTo>
                  <a:pt x="1175" y="673"/>
                </a:moveTo>
                <a:lnTo>
                  <a:pt x="1285" y="673"/>
                </a:lnTo>
                <a:lnTo>
                  <a:pt x="1224" y="722"/>
                </a:lnTo>
                <a:lnTo>
                  <a:pt x="1175" y="673"/>
                </a:lnTo>
                <a:close/>
                <a:moveTo>
                  <a:pt x="1175" y="808"/>
                </a:moveTo>
                <a:lnTo>
                  <a:pt x="1224" y="747"/>
                </a:lnTo>
                <a:lnTo>
                  <a:pt x="1285" y="808"/>
                </a:lnTo>
                <a:lnTo>
                  <a:pt x="1175" y="808"/>
                </a:lnTo>
                <a:close/>
                <a:moveTo>
                  <a:pt x="1297" y="783"/>
                </a:moveTo>
                <a:lnTo>
                  <a:pt x="1248" y="734"/>
                </a:lnTo>
                <a:lnTo>
                  <a:pt x="1297" y="685"/>
                </a:lnTo>
                <a:lnTo>
                  <a:pt x="1297" y="783"/>
                </a:lnTo>
                <a:close/>
                <a:moveTo>
                  <a:pt x="1383" y="734"/>
                </a:moveTo>
                <a:lnTo>
                  <a:pt x="1334" y="783"/>
                </a:lnTo>
                <a:lnTo>
                  <a:pt x="1334" y="685"/>
                </a:lnTo>
                <a:lnTo>
                  <a:pt x="1383" y="734"/>
                </a:lnTo>
                <a:close/>
                <a:moveTo>
                  <a:pt x="1346" y="673"/>
                </a:moveTo>
                <a:lnTo>
                  <a:pt x="1444" y="673"/>
                </a:lnTo>
                <a:lnTo>
                  <a:pt x="1395" y="722"/>
                </a:lnTo>
                <a:lnTo>
                  <a:pt x="1346" y="673"/>
                </a:lnTo>
                <a:close/>
                <a:moveTo>
                  <a:pt x="1346" y="808"/>
                </a:moveTo>
                <a:lnTo>
                  <a:pt x="1395" y="747"/>
                </a:lnTo>
                <a:lnTo>
                  <a:pt x="1444" y="808"/>
                </a:lnTo>
                <a:lnTo>
                  <a:pt x="1346" y="808"/>
                </a:lnTo>
                <a:close/>
                <a:moveTo>
                  <a:pt x="1456" y="783"/>
                </a:moveTo>
                <a:lnTo>
                  <a:pt x="1407" y="734"/>
                </a:lnTo>
                <a:lnTo>
                  <a:pt x="1456" y="685"/>
                </a:lnTo>
                <a:lnTo>
                  <a:pt x="1456" y="783"/>
                </a:lnTo>
                <a:close/>
                <a:moveTo>
                  <a:pt x="1542" y="734"/>
                </a:moveTo>
                <a:lnTo>
                  <a:pt x="1493" y="783"/>
                </a:lnTo>
                <a:lnTo>
                  <a:pt x="1493" y="685"/>
                </a:lnTo>
                <a:lnTo>
                  <a:pt x="1542" y="734"/>
                </a:lnTo>
                <a:close/>
                <a:moveTo>
                  <a:pt x="1505" y="673"/>
                </a:moveTo>
                <a:lnTo>
                  <a:pt x="1615" y="673"/>
                </a:lnTo>
                <a:lnTo>
                  <a:pt x="1554" y="722"/>
                </a:lnTo>
                <a:lnTo>
                  <a:pt x="1505" y="673"/>
                </a:lnTo>
                <a:close/>
                <a:moveTo>
                  <a:pt x="1505" y="808"/>
                </a:moveTo>
                <a:lnTo>
                  <a:pt x="1554" y="747"/>
                </a:lnTo>
                <a:lnTo>
                  <a:pt x="1615" y="808"/>
                </a:lnTo>
                <a:lnTo>
                  <a:pt x="1505" y="808"/>
                </a:lnTo>
                <a:close/>
                <a:moveTo>
                  <a:pt x="1628" y="783"/>
                </a:moveTo>
                <a:lnTo>
                  <a:pt x="1579" y="734"/>
                </a:lnTo>
                <a:lnTo>
                  <a:pt x="1628" y="685"/>
                </a:lnTo>
                <a:lnTo>
                  <a:pt x="1628" y="783"/>
                </a:lnTo>
                <a:close/>
                <a:moveTo>
                  <a:pt x="1713" y="734"/>
                </a:moveTo>
                <a:lnTo>
                  <a:pt x="1664" y="783"/>
                </a:lnTo>
                <a:lnTo>
                  <a:pt x="1664" y="685"/>
                </a:lnTo>
                <a:lnTo>
                  <a:pt x="1713" y="734"/>
                </a:lnTo>
                <a:close/>
                <a:moveTo>
                  <a:pt x="1677" y="673"/>
                </a:moveTo>
                <a:lnTo>
                  <a:pt x="1775" y="673"/>
                </a:lnTo>
                <a:lnTo>
                  <a:pt x="1775" y="673"/>
                </a:lnTo>
                <a:lnTo>
                  <a:pt x="1726" y="722"/>
                </a:lnTo>
                <a:lnTo>
                  <a:pt x="1677" y="673"/>
                </a:lnTo>
                <a:close/>
                <a:moveTo>
                  <a:pt x="1775" y="808"/>
                </a:moveTo>
                <a:lnTo>
                  <a:pt x="1677" y="808"/>
                </a:lnTo>
                <a:lnTo>
                  <a:pt x="1726" y="747"/>
                </a:lnTo>
                <a:lnTo>
                  <a:pt x="1775" y="808"/>
                </a:lnTo>
                <a:lnTo>
                  <a:pt x="1775" y="808"/>
                </a:lnTo>
                <a:close/>
                <a:moveTo>
                  <a:pt x="1787" y="783"/>
                </a:moveTo>
                <a:lnTo>
                  <a:pt x="1738" y="734"/>
                </a:lnTo>
                <a:lnTo>
                  <a:pt x="1787" y="685"/>
                </a:lnTo>
                <a:lnTo>
                  <a:pt x="1787" y="783"/>
                </a:lnTo>
                <a:close/>
                <a:moveTo>
                  <a:pt x="1885" y="734"/>
                </a:moveTo>
                <a:lnTo>
                  <a:pt x="1823" y="783"/>
                </a:lnTo>
                <a:lnTo>
                  <a:pt x="1823" y="685"/>
                </a:lnTo>
                <a:lnTo>
                  <a:pt x="1885" y="734"/>
                </a:lnTo>
                <a:close/>
                <a:moveTo>
                  <a:pt x="1848" y="673"/>
                </a:moveTo>
                <a:lnTo>
                  <a:pt x="1946" y="673"/>
                </a:lnTo>
                <a:lnTo>
                  <a:pt x="1897" y="722"/>
                </a:lnTo>
                <a:lnTo>
                  <a:pt x="1848" y="673"/>
                </a:lnTo>
                <a:close/>
                <a:moveTo>
                  <a:pt x="1848" y="808"/>
                </a:moveTo>
                <a:lnTo>
                  <a:pt x="1897" y="747"/>
                </a:lnTo>
                <a:lnTo>
                  <a:pt x="1946" y="808"/>
                </a:lnTo>
                <a:lnTo>
                  <a:pt x="1848" y="808"/>
                </a:lnTo>
                <a:close/>
                <a:moveTo>
                  <a:pt x="1970" y="783"/>
                </a:moveTo>
                <a:lnTo>
                  <a:pt x="1909" y="734"/>
                </a:lnTo>
                <a:lnTo>
                  <a:pt x="1970" y="685"/>
                </a:lnTo>
                <a:lnTo>
                  <a:pt x="1970" y="783"/>
                </a:lnTo>
                <a:close/>
                <a:moveTo>
                  <a:pt x="2044" y="734"/>
                </a:moveTo>
                <a:lnTo>
                  <a:pt x="1995" y="783"/>
                </a:lnTo>
                <a:lnTo>
                  <a:pt x="1995" y="685"/>
                </a:lnTo>
                <a:lnTo>
                  <a:pt x="2044" y="734"/>
                </a:lnTo>
                <a:close/>
                <a:moveTo>
                  <a:pt x="2007" y="673"/>
                </a:moveTo>
                <a:lnTo>
                  <a:pt x="2117" y="673"/>
                </a:lnTo>
                <a:lnTo>
                  <a:pt x="2068" y="722"/>
                </a:lnTo>
                <a:lnTo>
                  <a:pt x="2007" y="673"/>
                </a:lnTo>
                <a:close/>
                <a:moveTo>
                  <a:pt x="2007" y="808"/>
                </a:moveTo>
                <a:lnTo>
                  <a:pt x="2068" y="747"/>
                </a:lnTo>
                <a:lnTo>
                  <a:pt x="2117" y="808"/>
                </a:lnTo>
                <a:lnTo>
                  <a:pt x="2007" y="808"/>
                </a:lnTo>
                <a:close/>
                <a:moveTo>
                  <a:pt x="2129" y="783"/>
                </a:moveTo>
                <a:lnTo>
                  <a:pt x="2080" y="734"/>
                </a:lnTo>
                <a:lnTo>
                  <a:pt x="2129" y="685"/>
                </a:lnTo>
                <a:lnTo>
                  <a:pt x="2129" y="783"/>
                </a:lnTo>
                <a:close/>
                <a:moveTo>
                  <a:pt x="2215" y="734"/>
                </a:moveTo>
                <a:lnTo>
                  <a:pt x="2166" y="783"/>
                </a:lnTo>
                <a:lnTo>
                  <a:pt x="2166" y="685"/>
                </a:lnTo>
                <a:lnTo>
                  <a:pt x="2215" y="734"/>
                </a:lnTo>
                <a:close/>
                <a:moveTo>
                  <a:pt x="2178" y="673"/>
                </a:moveTo>
                <a:lnTo>
                  <a:pt x="2276" y="673"/>
                </a:lnTo>
                <a:lnTo>
                  <a:pt x="2227" y="722"/>
                </a:lnTo>
                <a:lnTo>
                  <a:pt x="2178" y="673"/>
                </a:lnTo>
                <a:close/>
                <a:moveTo>
                  <a:pt x="2178" y="808"/>
                </a:moveTo>
                <a:lnTo>
                  <a:pt x="2227" y="747"/>
                </a:lnTo>
                <a:lnTo>
                  <a:pt x="2289" y="808"/>
                </a:lnTo>
                <a:lnTo>
                  <a:pt x="2178" y="808"/>
                </a:lnTo>
                <a:close/>
                <a:moveTo>
                  <a:pt x="2301" y="783"/>
                </a:moveTo>
                <a:lnTo>
                  <a:pt x="2240" y="734"/>
                </a:lnTo>
                <a:lnTo>
                  <a:pt x="2301" y="685"/>
                </a:lnTo>
                <a:lnTo>
                  <a:pt x="2301" y="783"/>
                </a:lnTo>
                <a:close/>
                <a:moveTo>
                  <a:pt x="2338" y="808"/>
                </a:moveTo>
                <a:lnTo>
                  <a:pt x="2399" y="747"/>
                </a:lnTo>
                <a:lnTo>
                  <a:pt x="2448" y="808"/>
                </a:lnTo>
                <a:lnTo>
                  <a:pt x="2338" y="808"/>
                </a:lnTo>
                <a:close/>
                <a:moveTo>
                  <a:pt x="2325" y="783"/>
                </a:moveTo>
                <a:lnTo>
                  <a:pt x="2325" y="685"/>
                </a:lnTo>
                <a:lnTo>
                  <a:pt x="2374" y="734"/>
                </a:lnTo>
                <a:lnTo>
                  <a:pt x="2325" y="783"/>
                </a:lnTo>
                <a:close/>
                <a:moveTo>
                  <a:pt x="2656" y="734"/>
                </a:moveTo>
                <a:lnTo>
                  <a:pt x="2827" y="808"/>
                </a:lnTo>
                <a:lnTo>
                  <a:pt x="2656" y="808"/>
                </a:lnTo>
                <a:lnTo>
                  <a:pt x="2656" y="734"/>
                </a:lnTo>
                <a:close/>
                <a:moveTo>
                  <a:pt x="2619" y="722"/>
                </a:moveTo>
                <a:lnTo>
                  <a:pt x="2619" y="808"/>
                </a:lnTo>
                <a:lnTo>
                  <a:pt x="2509" y="808"/>
                </a:lnTo>
                <a:lnTo>
                  <a:pt x="2607" y="722"/>
                </a:lnTo>
                <a:lnTo>
                  <a:pt x="2619" y="722"/>
                </a:lnTo>
                <a:close/>
                <a:moveTo>
                  <a:pt x="2497" y="673"/>
                </a:moveTo>
                <a:lnTo>
                  <a:pt x="2582" y="710"/>
                </a:lnTo>
                <a:lnTo>
                  <a:pt x="2497" y="795"/>
                </a:lnTo>
                <a:lnTo>
                  <a:pt x="2497" y="673"/>
                </a:lnTo>
                <a:close/>
                <a:moveTo>
                  <a:pt x="2460" y="783"/>
                </a:moveTo>
                <a:lnTo>
                  <a:pt x="2411" y="734"/>
                </a:lnTo>
                <a:lnTo>
                  <a:pt x="2460" y="685"/>
                </a:lnTo>
                <a:lnTo>
                  <a:pt x="2460" y="783"/>
                </a:lnTo>
                <a:close/>
                <a:moveTo>
                  <a:pt x="2399" y="722"/>
                </a:moveTo>
                <a:lnTo>
                  <a:pt x="2338" y="673"/>
                </a:lnTo>
                <a:lnTo>
                  <a:pt x="2448" y="673"/>
                </a:lnTo>
                <a:lnTo>
                  <a:pt x="2399" y="722"/>
                </a:lnTo>
                <a:close/>
                <a:moveTo>
                  <a:pt x="1077" y="196"/>
                </a:moveTo>
                <a:lnTo>
                  <a:pt x="1077" y="159"/>
                </a:lnTo>
                <a:lnTo>
                  <a:pt x="1077" y="110"/>
                </a:lnTo>
                <a:lnTo>
                  <a:pt x="2386" y="636"/>
                </a:lnTo>
                <a:lnTo>
                  <a:pt x="2325" y="636"/>
                </a:lnTo>
                <a:lnTo>
                  <a:pt x="2301" y="636"/>
                </a:lnTo>
                <a:lnTo>
                  <a:pt x="2166" y="636"/>
                </a:lnTo>
                <a:lnTo>
                  <a:pt x="2129" y="636"/>
                </a:lnTo>
                <a:lnTo>
                  <a:pt x="1995" y="636"/>
                </a:lnTo>
                <a:lnTo>
                  <a:pt x="1970" y="636"/>
                </a:lnTo>
                <a:lnTo>
                  <a:pt x="1823" y="636"/>
                </a:lnTo>
                <a:lnTo>
                  <a:pt x="1823" y="636"/>
                </a:lnTo>
                <a:lnTo>
                  <a:pt x="1787" y="636"/>
                </a:lnTo>
                <a:lnTo>
                  <a:pt x="1775" y="636"/>
                </a:lnTo>
                <a:lnTo>
                  <a:pt x="1664" y="636"/>
                </a:lnTo>
                <a:lnTo>
                  <a:pt x="1628" y="636"/>
                </a:lnTo>
                <a:lnTo>
                  <a:pt x="1493" y="636"/>
                </a:lnTo>
                <a:lnTo>
                  <a:pt x="1456" y="636"/>
                </a:lnTo>
                <a:lnTo>
                  <a:pt x="1334" y="636"/>
                </a:lnTo>
                <a:lnTo>
                  <a:pt x="1297" y="636"/>
                </a:lnTo>
                <a:lnTo>
                  <a:pt x="1114" y="636"/>
                </a:lnTo>
                <a:lnTo>
                  <a:pt x="1114" y="551"/>
                </a:lnTo>
                <a:lnTo>
                  <a:pt x="1077" y="551"/>
                </a:lnTo>
                <a:lnTo>
                  <a:pt x="1077" y="196"/>
                </a:lnTo>
                <a:close/>
                <a:moveTo>
                  <a:pt x="9277" y="3451"/>
                </a:moveTo>
                <a:lnTo>
                  <a:pt x="9314" y="3451"/>
                </a:lnTo>
                <a:lnTo>
                  <a:pt x="9314" y="3464"/>
                </a:lnTo>
                <a:lnTo>
                  <a:pt x="9277" y="3451"/>
                </a:lnTo>
                <a:close/>
                <a:moveTo>
                  <a:pt x="9412" y="3733"/>
                </a:moveTo>
                <a:lnTo>
                  <a:pt x="9412" y="3818"/>
                </a:lnTo>
                <a:lnTo>
                  <a:pt x="9351" y="3818"/>
                </a:lnTo>
                <a:lnTo>
                  <a:pt x="9351" y="3733"/>
                </a:lnTo>
                <a:lnTo>
                  <a:pt x="9412" y="3733"/>
                </a:lnTo>
                <a:close/>
                <a:moveTo>
                  <a:pt x="9351" y="3696"/>
                </a:moveTo>
                <a:lnTo>
                  <a:pt x="9351" y="3586"/>
                </a:lnTo>
                <a:lnTo>
                  <a:pt x="9412" y="3586"/>
                </a:lnTo>
                <a:lnTo>
                  <a:pt x="9412" y="3696"/>
                </a:lnTo>
                <a:lnTo>
                  <a:pt x="9351" y="3696"/>
                </a:lnTo>
                <a:close/>
                <a:moveTo>
                  <a:pt x="9338" y="2766"/>
                </a:moveTo>
                <a:lnTo>
                  <a:pt x="9412" y="2766"/>
                </a:lnTo>
                <a:lnTo>
                  <a:pt x="9412" y="2864"/>
                </a:lnTo>
                <a:lnTo>
                  <a:pt x="9338" y="2864"/>
                </a:lnTo>
                <a:lnTo>
                  <a:pt x="9338" y="2766"/>
                </a:lnTo>
                <a:close/>
                <a:moveTo>
                  <a:pt x="9338" y="2901"/>
                </a:moveTo>
                <a:lnTo>
                  <a:pt x="9412" y="2901"/>
                </a:lnTo>
                <a:lnTo>
                  <a:pt x="9412" y="3011"/>
                </a:lnTo>
                <a:lnTo>
                  <a:pt x="9338" y="3011"/>
                </a:lnTo>
                <a:lnTo>
                  <a:pt x="9338" y="2901"/>
                </a:lnTo>
                <a:close/>
                <a:moveTo>
                  <a:pt x="9338" y="3047"/>
                </a:moveTo>
                <a:lnTo>
                  <a:pt x="9412" y="3047"/>
                </a:lnTo>
                <a:lnTo>
                  <a:pt x="9412" y="3158"/>
                </a:lnTo>
                <a:lnTo>
                  <a:pt x="9338" y="3158"/>
                </a:lnTo>
                <a:lnTo>
                  <a:pt x="9338" y="3047"/>
                </a:lnTo>
                <a:close/>
                <a:moveTo>
                  <a:pt x="9338" y="3182"/>
                </a:moveTo>
                <a:lnTo>
                  <a:pt x="9412" y="3182"/>
                </a:lnTo>
                <a:lnTo>
                  <a:pt x="9412" y="3268"/>
                </a:lnTo>
                <a:lnTo>
                  <a:pt x="9338" y="3268"/>
                </a:lnTo>
                <a:lnTo>
                  <a:pt x="9338" y="3182"/>
                </a:lnTo>
                <a:close/>
                <a:moveTo>
                  <a:pt x="9338" y="3304"/>
                </a:moveTo>
                <a:lnTo>
                  <a:pt x="9412" y="3304"/>
                </a:lnTo>
                <a:lnTo>
                  <a:pt x="9412" y="3415"/>
                </a:lnTo>
                <a:lnTo>
                  <a:pt x="9338" y="3415"/>
                </a:lnTo>
                <a:lnTo>
                  <a:pt x="9338" y="3304"/>
                </a:lnTo>
                <a:close/>
                <a:moveTo>
                  <a:pt x="9338" y="3451"/>
                </a:moveTo>
                <a:lnTo>
                  <a:pt x="9412" y="3451"/>
                </a:lnTo>
                <a:lnTo>
                  <a:pt x="9412" y="3561"/>
                </a:lnTo>
                <a:lnTo>
                  <a:pt x="9351" y="3561"/>
                </a:lnTo>
                <a:lnTo>
                  <a:pt x="9351" y="3476"/>
                </a:lnTo>
                <a:lnTo>
                  <a:pt x="9338" y="3464"/>
                </a:lnTo>
                <a:lnTo>
                  <a:pt x="9338" y="3451"/>
                </a:lnTo>
                <a:close/>
                <a:moveTo>
                  <a:pt x="9167" y="2766"/>
                </a:moveTo>
                <a:lnTo>
                  <a:pt x="9314" y="2766"/>
                </a:lnTo>
                <a:lnTo>
                  <a:pt x="9314" y="2864"/>
                </a:lnTo>
                <a:lnTo>
                  <a:pt x="9167" y="2864"/>
                </a:lnTo>
                <a:lnTo>
                  <a:pt x="9167" y="2766"/>
                </a:lnTo>
                <a:close/>
                <a:moveTo>
                  <a:pt x="9167" y="2901"/>
                </a:moveTo>
                <a:lnTo>
                  <a:pt x="9314" y="2901"/>
                </a:lnTo>
                <a:lnTo>
                  <a:pt x="9314" y="3011"/>
                </a:lnTo>
                <a:lnTo>
                  <a:pt x="9167" y="3011"/>
                </a:lnTo>
                <a:lnTo>
                  <a:pt x="9167" y="2901"/>
                </a:lnTo>
                <a:close/>
                <a:moveTo>
                  <a:pt x="9167" y="3047"/>
                </a:moveTo>
                <a:lnTo>
                  <a:pt x="9314" y="3047"/>
                </a:lnTo>
                <a:lnTo>
                  <a:pt x="9314" y="3158"/>
                </a:lnTo>
                <a:lnTo>
                  <a:pt x="9167" y="3158"/>
                </a:lnTo>
                <a:lnTo>
                  <a:pt x="9167" y="3047"/>
                </a:lnTo>
                <a:close/>
                <a:moveTo>
                  <a:pt x="9167" y="3182"/>
                </a:moveTo>
                <a:lnTo>
                  <a:pt x="9314" y="3182"/>
                </a:lnTo>
                <a:lnTo>
                  <a:pt x="9314" y="3268"/>
                </a:lnTo>
                <a:lnTo>
                  <a:pt x="9167" y="3268"/>
                </a:lnTo>
                <a:lnTo>
                  <a:pt x="9167" y="3182"/>
                </a:lnTo>
                <a:close/>
                <a:moveTo>
                  <a:pt x="9167" y="3304"/>
                </a:moveTo>
                <a:lnTo>
                  <a:pt x="9314" y="3304"/>
                </a:lnTo>
                <a:lnTo>
                  <a:pt x="9314" y="3415"/>
                </a:lnTo>
                <a:lnTo>
                  <a:pt x="9179" y="3415"/>
                </a:lnTo>
                <a:lnTo>
                  <a:pt x="9167" y="3415"/>
                </a:lnTo>
                <a:lnTo>
                  <a:pt x="9167" y="3304"/>
                </a:lnTo>
                <a:close/>
                <a:moveTo>
                  <a:pt x="9069" y="2766"/>
                </a:moveTo>
                <a:lnTo>
                  <a:pt x="9130" y="2766"/>
                </a:lnTo>
                <a:lnTo>
                  <a:pt x="9130" y="2864"/>
                </a:lnTo>
                <a:lnTo>
                  <a:pt x="9069" y="2864"/>
                </a:lnTo>
                <a:lnTo>
                  <a:pt x="9069" y="2766"/>
                </a:lnTo>
                <a:close/>
                <a:moveTo>
                  <a:pt x="9069" y="2901"/>
                </a:moveTo>
                <a:lnTo>
                  <a:pt x="9130" y="2901"/>
                </a:lnTo>
                <a:lnTo>
                  <a:pt x="9130" y="3011"/>
                </a:lnTo>
                <a:lnTo>
                  <a:pt x="9069" y="3011"/>
                </a:lnTo>
                <a:lnTo>
                  <a:pt x="9069" y="2901"/>
                </a:lnTo>
                <a:close/>
                <a:moveTo>
                  <a:pt x="9069" y="3047"/>
                </a:moveTo>
                <a:lnTo>
                  <a:pt x="9130" y="3047"/>
                </a:lnTo>
                <a:lnTo>
                  <a:pt x="9130" y="3158"/>
                </a:lnTo>
                <a:lnTo>
                  <a:pt x="9069" y="3158"/>
                </a:lnTo>
                <a:lnTo>
                  <a:pt x="9069" y="3047"/>
                </a:lnTo>
                <a:close/>
                <a:moveTo>
                  <a:pt x="9069" y="3182"/>
                </a:moveTo>
                <a:lnTo>
                  <a:pt x="9130" y="3182"/>
                </a:lnTo>
                <a:lnTo>
                  <a:pt x="9130" y="3268"/>
                </a:lnTo>
                <a:lnTo>
                  <a:pt x="9069" y="3268"/>
                </a:lnTo>
                <a:lnTo>
                  <a:pt x="9069" y="3182"/>
                </a:lnTo>
                <a:close/>
                <a:moveTo>
                  <a:pt x="9069" y="3304"/>
                </a:moveTo>
                <a:lnTo>
                  <a:pt x="9130" y="3304"/>
                </a:lnTo>
                <a:lnTo>
                  <a:pt x="9130" y="3402"/>
                </a:lnTo>
                <a:lnTo>
                  <a:pt x="9094" y="3415"/>
                </a:lnTo>
                <a:lnTo>
                  <a:pt x="9069" y="3415"/>
                </a:lnTo>
                <a:lnTo>
                  <a:pt x="9069" y="3304"/>
                </a:lnTo>
                <a:close/>
                <a:moveTo>
                  <a:pt x="8898" y="2766"/>
                </a:moveTo>
                <a:lnTo>
                  <a:pt x="9032" y="2766"/>
                </a:lnTo>
                <a:lnTo>
                  <a:pt x="9032" y="2864"/>
                </a:lnTo>
                <a:lnTo>
                  <a:pt x="8898" y="2864"/>
                </a:lnTo>
                <a:lnTo>
                  <a:pt x="8898" y="2766"/>
                </a:lnTo>
                <a:close/>
                <a:moveTo>
                  <a:pt x="8898" y="2901"/>
                </a:moveTo>
                <a:lnTo>
                  <a:pt x="9032" y="2901"/>
                </a:lnTo>
                <a:lnTo>
                  <a:pt x="9032" y="3011"/>
                </a:lnTo>
                <a:lnTo>
                  <a:pt x="8898" y="3011"/>
                </a:lnTo>
                <a:lnTo>
                  <a:pt x="8898" y="2901"/>
                </a:lnTo>
                <a:close/>
                <a:moveTo>
                  <a:pt x="8898" y="3047"/>
                </a:moveTo>
                <a:lnTo>
                  <a:pt x="9032" y="3047"/>
                </a:lnTo>
                <a:lnTo>
                  <a:pt x="9032" y="3158"/>
                </a:lnTo>
                <a:lnTo>
                  <a:pt x="8898" y="3158"/>
                </a:lnTo>
                <a:lnTo>
                  <a:pt x="8898" y="3047"/>
                </a:lnTo>
                <a:close/>
                <a:moveTo>
                  <a:pt x="8898" y="3182"/>
                </a:moveTo>
                <a:lnTo>
                  <a:pt x="9032" y="3182"/>
                </a:lnTo>
                <a:lnTo>
                  <a:pt x="9032" y="3268"/>
                </a:lnTo>
                <a:lnTo>
                  <a:pt x="8898" y="3268"/>
                </a:lnTo>
                <a:lnTo>
                  <a:pt x="8898" y="3182"/>
                </a:lnTo>
                <a:close/>
                <a:moveTo>
                  <a:pt x="8898" y="3304"/>
                </a:moveTo>
                <a:lnTo>
                  <a:pt x="9032" y="3304"/>
                </a:lnTo>
                <a:lnTo>
                  <a:pt x="9032" y="3415"/>
                </a:lnTo>
                <a:lnTo>
                  <a:pt x="8898" y="3415"/>
                </a:lnTo>
                <a:lnTo>
                  <a:pt x="8898" y="3304"/>
                </a:lnTo>
                <a:close/>
                <a:moveTo>
                  <a:pt x="8898" y="3451"/>
                </a:moveTo>
                <a:lnTo>
                  <a:pt x="8996" y="3451"/>
                </a:lnTo>
                <a:lnTo>
                  <a:pt x="8922" y="3476"/>
                </a:lnTo>
                <a:lnTo>
                  <a:pt x="8922" y="3561"/>
                </a:lnTo>
                <a:lnTo>
                  <a:pt x="8898" y="3561"/>
                </a:lnTo>
                <a:lnTo>
                  <a:pt x="8898" y="3451"/>
                </a:lnTo>
                <a:close/>
                <a:moveTo>
                  <a:pt x="8898" y="3586"/>
                </a:moveTo>
                <a:lnTo>
                  <a:pt x="8922" y="3586"/>
                </a:lnTo>
                <a:lnTo>
                  <a:pt x="8922" y="3696"/>
                </a:lnTo>
                <a:lnTo>
                  <a:pt x="8898" y="3696"/>
                </a:lnTo>
                <a:lnTo>
                  <a:pt x="8898" y="3586"/>
                </a:lnTo>
                <a:close/>
                <a:moveTo>
                  <a:pt x="8922" y="3733"/>
                </a:moveTo>
                <a:lnTo>
                  <a:pt x="8922" y="3818"/>
                </a:lnTo>
                <a:lnTo>
                  <a:pt x="8898" y="3818"/>
                </a:lnTo>
                <a:lnTo>
                  <a:pt x="8898" y="3733"/>
                </a:lnTo>
                <a:lnTo>
                  <a:pt x="8922" y="3733"/>
                </a:lnTo>
                <a:close/>
                <a:moveTo>
                  <a:pt x="8800" y="2766"/>
                </a:moveTo>
                <a:lnTo>
                  <a:pt x="8861" y="2766"/>
                </a:lnTo>
                <a:lnTo>
                  <a:pt x="8861" y="2864"/>
                </a:lnTo>
                <a:lnTo>
                  <a:pt x="8800" y="2864"/>
                </a:lnTo>
                <a:lnTo>
                  <a:pt x="8800" y="2766"/>
                </a:lnTo>
                <a:close/>
                <a:moveTo>
                  <a:pt x="8800" y="2901"/>
                </a:moveTo>
                <a:lnTo>
                  <a:pt x="8861" y="2901"/>
                </a:lnTo>
                <a:lnTo>
                  <a:pt x="8861" y="3011"/>
                </a:lnTo>
                <a:lnTo>
                  <a:pt x="8800" y="3011"/>
                </a:lnTo>
                <a:lnTo>
                  <a:pt x="8800" y="2901"/>
                </a:lnTo>
                <a:close/>
                <a:moveTo>
                  <a:pt x="8800" y="3047"/>
                </a:moveTo>
                <a:lnTo>
                  <a:pt x="8861" y="3047"/>
                </a:lnTo>
                <a:lnTo>
                  <a:pt x="8861" y="3158"/>
                </a:lnTo>
                <a:lnTo>
                  <a:pt x="8800" y="3158"/>
                </a:lnTo>
                <a:lnTo>
                  <a:pt x="8800" y="3047"/>
                </a:lnTo>
                <a:close/>
                <a:moveTo>
                  <a:pt x="8800" y="3182"/>
                </a:moveTo>
                <a:lnTo>
                  <a:pt x="8861" y="3182"/>
                </a:lnTo>
                <a:lnTo>
                  <a:pt x="8861" y="3268"/>
                </a:lnTo>
                <a:lnTo>
                  <a:pt x="8800" y="3268"/>
                </a:lnTo>
                <a:lnTo>
                  <a:pt x="8800" y="3182"/>
                </a:lnTo>
                <a:close/>
                <a:moveTo>
                  <a:pt x="8800" y="3304"/>
                </a:moveTo>
                <a:lnTo>
                  <a:pt x="8861" y="3304"/>
                </a:lnTo>
                <a:lnTo>
                  <a:pt x="8861" y="3415"/>
                </a:lnTo>
                <a:lnTo>
                  <a:pt x="8800" y="3415"/>
                </a:lnTo>
                <a:lnTo>
                  <a:pt x="8800" y="3304"/>
                </a:lnTo>
                <a:close/>
                <a:moveTo>
                  <a:pt x="8800" y="3451"/>
                </a:moveTo>
                <a:lnTo>
                  <a:pt x="8861" y="3451"/>
                </a:lnTo>
                <a:lnTo>
                  <a:pt x="8861" y="3561"/>
                </a:lnTo>
                <a:lnTo>
                  <a:pt x="8800" y="3561"/>
                </a:lnTo>
                <a:lnTo>
                  <a:pt x="8800" y="3451"/>
                </a:lnTo>
                <a:close/>
                <a:moveTo>
                  <a:pt x="8800" y="3586"/>
                </a:moveTo>
                <a:lnTo>
                  <a:pt x="8861" y="3586"/>
                </a:lnTo>
                <a:lnTo>
                  <a:pt x="8861" y="3696"/>
                </a:lnTo>
                <a:lnTo>
                  <a:pt x="8800" y="3696"/>
                </a:lnTo>
                <a:lnTo>
                  <a:pt x="8800" y="3586"/>
                </a:lnTo>
                <a:close/>
                <a:moveTo>
                  <a:pt x="8800" y="3733"/>
                </a:moveTo>
                <a:lnTo>
                  <a:pt x="8861" y="3733"/>
                </a:lnTo>
                <a:lnTo>
                  <a:pt x="8861" y="3818"/>
                </a:lnTo>
                <a:lnTo>
                  <a:pt x="8800" y="3818"/>
                </a:lnTo>
                <a:lnTo>
                  <a:pt x="8800" y="3733"/>
                </a:lnTo>
                <a:close/>
                <a:moveTo>
                  <a:pt x="8506" y="2521"/>
                </a:moveTo>
                <a:lnTo>
                  <a:pt x="8445" y="2448"/>
                </a:lnTo>
                <a:lnTo>
                  <a:pt x="8506" y="2387"/>
                </a:lnTo>
                <a:lnTo>
                  <a:pt x="8506" y="2521"/>
                </a:lnTo>
                <a:close/>
                <a:moveTo>
                  <a:pt x="8482" y="2117"/>
                </a:moveTo>
                <a:lnTo>
                  <a:pt x="8359" y="2117"/>
                </a:lnTo>
                <a:lnTo>
                  <a:pt x="8420" y="2056"/>
                </a:lnTo>
                <a:lnTo>
                  <a:pt x="8482" y="2117"/>
                </a:lnTo>
                <a:close/>
                <a:moveTo>
                  <a:pt x="8359" y="1958"/>
                </a:moveTo>
                <a:lnTo>
                  <a:pt x="8482" y="1958"/>
                </a:lnTo>
                <a:lnTo>
                  <a:pt x="8420" y="2019"/>
                </a:lnTo>
                <a:lnTo>
                  <a:pt x="8359" y="1958"/>
                </a:lnTo>
                <a:close/>
                <a:moveTo>
                  <a:pt x="8482" y="2166"/>
                </a:moveTo>
                <a:lnTo>
                  <a:pt x="8420" y="2227"/>
                </a:lnTo>
                <a:lnTo>
                  <a:pt x="8359" y="2166"/>
                </a:lnTo>
                <a:lnTo>
                  <a:pt x="8482" y="2166"/>
                </a:lnTo>
                <a:close/>
                <a:moveTo>
                  <a:pt x="8482" y="2325"/>
                </a:moveTo>
                <a:lnTo>
                  <a:pt x="8359" y="2325"/>
                </a:lnTo>
                <a:lnTo>
                  <a:pt x="8420" y="2264"/>
                </a:lnTo>
                <a:lnTo>
                  <a:pt x="8482" y="2325"/>
                </a:lnTo>
                <a:close/>
                <a:moveTo>
                  <a:pt x="8482" y="2374"/>
                </a:moveTo>
                <a:lnTo>
                  <a:pt x="8420" y="2435"/>
                </a:lnTo>
                <a:lnTo>
                  <a:pt x="8359" y="2374"/>
                </a:lnTo>
                <a:lnTo>
                  <a:pt x="8482" y="2374"/>
                </a:lnTo>
                <a:close/>
                <a:moveTo>
                  <a:pt x="8482" y="2533"/>
                </a:moveTo>
                <a:lnTo>
                  <a:pt x="8359" y="2533"/>
                </a:lnTo>
                <a:lnTo>
                  <a:pt x="8420" y="2472"/>
                </a:lnTo>
                <a:lnTo>
                  <a:pt x="8482" y="2533"/>
                </a:lnTo>
                <a:close/>
                <a:moveTo>
                  <a:pt x="8506" y="2313"/>
                </a:moveTo>
                <a:lnTo>
                  <a:pt x="8445" y="2240"/>
                </a:lnTo>
                <a:lnTo>
                  <a:pt x="8506" y="2178"/>
                </a:lnTo>
                <a:lnTo>
                  <a:pt x="8506" y="2313"/>
                </a:lnTo>
                <a:close/>
                <a:moveTo>
                  <a:pt x="8506" y="2105"/>
                </a:moveTo>
                <a:lnTo>
                  <a:pt x="8445" y="2032"/>
                </a:lnTo>
                <a:lnTo>
                  <a:pt x="8506" y="1970"/>
                </a:lnTo>
                <a:lnTo>
                  <a:pt x="8506" y="2105"/>
                </a:lnTo>
                <a:close/>
                <a:moveTo>
                  <a:pt x="8335" y="1872"/>
                </a:moveTo>
                <a:lnTo>
                  <a:pt x="8506" y="1872"/>
                </a:lnTo>
                <a:lnTo>
                  <a:pt x="8506" y="1909"/>
                </a:lnTo>
                <a:lnTo>
                  <a:pt x="8335" y="1909"/>
                </a:lnTo>
                <a:lnTo>
                  <a:pt x="8335" y="1872"/>
                </a:lnTo>
                <a:close/>
                <a:moveTo>
                  <a:pt x="8335" y="1970"/>
                </a:moveTo>
                <a:lnTo>
                  <a:pt x="8396" y="2032"/>
                </a:lnTo>
                <a:lnTo>
                  <a:pt x="8335" y="2105"/>
                </a:lnTo>
                <a:lnTo>
                  <a:pt x="8335" y="1970"/>
                </a:lnTo>
                <a:close/>
                <a:moveTo>
                  <a:pt x="8335" y="2178"/>
                </a:moveTo>
                <a:lnTo>
                  <a:pt x="8396" y="2240"/>
                </a:lnTo>
                <a:lnTo>
                  <a:pt x="8335" y="2313"/>
                </a:lnTo>
                <a:lnTo>
                  <a:pt x="8335" y="2178"/>
                </a:lnTo>
                <a:close/>
                <a:moveTo>
                  <a:pt x="8335" y="2387"/>
                </a:moveTo>
                <a:lnTo>
                  <a:pt x="8396" y="2448"/>
                </a:lnTo>
                <a:lnTo>
                  <a:pt x="8335" y="2521"/>
                </a:lnTo>
                <a:lnTo>
                  <a:pt x="8335" y="2387"/>
                </a:lnTo>
                <a:close/>
                <a:moveTo>
                  <a:pt x="8335" y="2582"/>
                </a:moveTo>
                <a:lnTo>
                  <a:pt x="8506" y="2582"/>
                </a:lnTo>
                <a:lnTo>
                  <a:pt x="8506" y="2607"/>
                </a:lnTo>
                <a:lnTo>
                  <a:pt x="8335" y="2607"/>
                </a:lnTo>
                <a:lnTo>
                  <a:pt x="8335" y="2582"/>
                </a:lnTo>
                <a:close/>
                <a:moveTo>
                  <a:pt x="7637" y="2582"/>
                </a:moveTo>
                <a:lnTo>
                  <a:pt x="7637" y="2533"/>
                </a:lnTo>
                <a:lnTo>
                  <a:pt x="7637" y="2374"/>
                </a:lnTo>
                <a:lnTo>
                  <a:pt x="7637" y="2325"/>
                </a:lnTo>
                <a:lnTo>
                  <a:pt x="7637" y="2166"/>
                </a:lnTo>
                <a:lnTo>
                  <a:pt x="7637" y="2117"/>
                </a:lnTo>
                <a:lnTo>
                  <a:pt x="7637" y="1958"/>
                </a:lnTo>
                <a:lnTo>
                  <a:pt x="7637" y="1909"/>
                </a:lnTo>
                <a:lnTo>
                  <a:pt x="7637" y="1872"/>
                </a:lnTo>
                <a:lnTo>
                  <a:pt x="8286" y="1872"/>
                </a:lnTo>
                <a:lnTo>
                  <a:pt x="8286" y="2607"/>
                </a:lnTo>
                <a:lnTo>
                  <a:pt x="7637" y="2607"/>
                </a:lnTo>
                <a:lnTo>
                  <a:pt x="7637" y="2582"/>
                </a:lnTo>
                <a:close/>
                <a:moveTo>
                  <a:pt x="7735" y="3158"/>
                </a:moveTo>
                <a:lnTo>
                  <a:pt x="7735" y="2925"/>
                </a:lnTo>
                <a:lnTo>
                  <a:pt x="7784" y="2925"/>
                </a:lnTo>
                <a:lnTo>
                  <a:pt x="7784" y="2790"/>
                </a:lnTo>
                <a:lnTo>
                  <a:pt x="8163" y="2790"/>
                </a:lnTo>
                <a:lnTo>
                  <a:pt x="8163" y="2925"/>
                </a:lnTo>
                <a:lnTo>
                  <a:pt x="8212" y="2925"/>
                </a:lnTo>
                <a:lnTo>
                  <a:pt x="8212" y="3158"/>
                </a:lnTo>
                <a:lnTo>
                  <a:pt x="8163" y="3158"/>
                </a:lnTo>
                <a:lnTo>
                  <a:pt x="8163" y="3268"/>
                </a:lnTo>
                <a:lnTo>
                  <a:pt x="7784" y="3268"/>
                </a:lnTo>
                <a:lnTo>
                  <a:pt x="7784" y="3158"/>
                </a:lnTo>
                <a:lnTo>
                  <a:pt x="7735" y="3158"/>
                </a:lnTo>
                <a:close/>
                <a:moveTo>
                  <a:pt x="8359" y="3451"/>
                </a:moveTo>
                <a:lnTo>
                  <a:pt x="8359" y="3818"/>
                </a:lnTo>
                <a:lnTo>
                  <a:pt x="8200" y="3818"/>
                </a:lnTo>
                <a:lnTo>
                  <a:pt x="8200" y="3635"/>
                </a:lnTo>
                <a:lnTo>
                  <a:pt x="7625" y="3635"/>
                </a:lnTo>
                <a:lnTo>
                  <a:pt x="7625" y="3818"/>
                </a:lnTo>
                <a:lnTo>
                  <a:pt x="7527" y="3818"/>
                </a:lnTo>
                <a:lnTo>
                  <a:pt x="7527" y="3451"/>
                </a:lnTo>
                <a:lnTo>
                  <a:pt x="8359" y="3451"/>
                </a:lnTo>
                <a:close/>
                <a:moveTo>
                  <a:pt x="7502" y="2019"/>
                </a:moveTo>
                <a:lnTo>
                  <a:pt x="7453" y="1958"/>
                </a:lnTo>
                <a:lnTo>
                  <a:pt x="7564" y="1958"/>
                </a:lnTo>
                <a:lnTo>
                  <a:pt x="7502" y="2019"/>
                </a:lnTo>
                <a:close/>
                <a:moveTo>
                  <a:pt x="7588" y="1970"/>
                </a:moveTo>
                <a:lnTo>
                  <a:pt x="7588" y="2105"/>
                </a:lnTo>
                <a:lnTo>
                  <a:pt x="7527" y="2032"/>
                </a:lnTo>
                <a:lnTo>
                  <a:pt x="7588" y="1970"/>
                </a:lnTo>
                <a:close/>
                <a:moveTo>
                  <a:pt x="7576" y="2117"/>
                </a:moveTo>
                <a:lnTo>
                  <a:pt x="7441" y="2117"/>
                </a:lnTo>
                <a:lnTo>
                  <a:pt x="7502" y="2056"/>
                </a:lnTo>
                <a:lnTo>
                  <a:pt x="7576" y="2117"/>
                </a:lnTo>
                <a:close/>
                <a:moveTo>
                  <a:pt x="7588" y="2178"/>
                </a:moveTo>
                <a:lnTo>
                  <a:pt x="7588" y="2313"/>
                </a:lnTo>
                <a:lnTo>
                  <a:pt x="7527" y="2240"/>
                </a:lnTo>
                <a:lnTo>
                  <a:pt x="7588" y="2178"/>
                </a:lnTo>
                <a:close/>
                <a:moveTo>
                  <a:pt x="7564" y="2166"/>
                </a:moveTo>
                <a:lnTo>
                  <a:pt x="7502" y="2227"/>
                </a:lnTo>
                <a:lnTo>
                  <a:pt x="7453" y="2166"/>
                </a:lnTo>
                <a:lnTo>
                  <a:pt x="7564" y="2166"/>
                </a:lnTo>
                <a:close/>
                <a:moveTo>
                  <a:pt x="7576" y="2325"/>
                </a:moveTo>
                <a:lnTo>
                  <a:pt x="7441" y="2325"/>
                </a:lnTo>
                <a:lnTo>
                  <a:pt x="7502" y="2264"/>
                </a:lnTo>
                <a:lnTo>
                  <a:pt x="7576" y="2325"/>
                </a:lnTo>
                <a:close/>
                <a:moveTo>
                  <a:pt x="7564" y="2374"/>
                </a:moveTo>
                <a:lnTo>
                  <a:pt x="7502" y="2435"/>
                </a:lnTo>
                <a:lnTo>
                  <a:pt x="7453" y="2374"/>
                </a:lnTo>
                <a:lnTo>
                  <a:pt x="7564" y="2374"/>
                </a:lnTo>
                <a:close/>
                <a:moveTo>
                  <a:pt x="7576" y="2533"/>
                </a:moveTo>
                <a:lnTo>
                  <a:pt x="7441" y="2533"/>
                </a:lnTo>
                <a:lnTo>
                  <a:pt x="7502" y="2472"/>
                </a:lnTo>
                <a:lnTo>
                  <a:pt x="7576" y="2533"/>
                </a:lnTo>
                <a:close/>
                <a:moveTo>
                  <a:pt x="7527" y="2448"/>
                </a:moveTo>
                <a:lnTo>
                  <a:pt x="7588" y="2387"/>
                </a:lnTo>
                <a:lnTo>
                  <a:pt x="7588" y="2521"/>
                </a:lnTo>
                <a:lnTo>
                  <a:pt x="7527" y="2448"/>
                </a:lnTo>
                <a:close/>
                <a:moveTo>
                  <a:pt x="7417" y="1872"/>
                </a:moveTo>
                <a:lnTo>
                  <a:pt x="7588" y="1872"/>
                </a:lnTo>
                <a:lnTo>
                  <a:pt x="7588" y="1909"/>
                </a:lnTo>
                <a:lnTo>
                  <a:pt x="7417" y="1909"/>
                </a:lnTo>
                <a:lnTo>
                  <a:pt x="7417" y="1872"/>
                </a:lnTo>
                <a:close/>
                <a:moveTo>
                  <a:pt x="7417" y="1970"/>
                </a:moveTo>
                <a:lnTo>
                  <a:pt x="7490" y="2032"/>
                </a:lnTo>
                <a:lnTo>
                  <a:pt x="7417" y="2105"/>
                </a:lnTo>
                <a:lnTo>
                  <a:pt x="7417" y="1970"/>
                </a:lnTo>
                <a:close/>
                <a:moveTo>
                  <a:pt x="7417" y="2178"/>
                </a:moveTo>
                <a:lnTo>
                  <a:pt x="7490" y="2240"/>
                </a:lnTo>
                <a:lnTo>
                  <a:pt x="7417" y="2313"/>
                </a:lnTo>
                <a:lnTo>
                  <a:pt x="7417" y="2178"/>
                </a:lnTo>
                <a:close/>
                <a:moveTo>
                  <a:pt x="7417" y="2387"/>
                </a:moveTo>
                <a:lnTo>
                  <a:pt x="7490" y="2448"/>
                </a:lnTo>
                <a:lnTo>
                  <a:pt x="7417" y="2521"/>
                </a:lnTo>
                <a:lnTo>
                  <a:pt x="7417" y="2387"/>
                </a:lnTo>
                <a:close/>
                <a:moveTo>
                  <a:pt x="7417" y="2582"/>
                </a:moveTo>
                <a:lnTo>
                  <a:pt x="7588" y="2582"/>
                </a:lnTo>
                <a:lnTo>
                  <a:pt x="7588" y="2607"/>
                </a:lnTo>
                <a:lnTo>
                  <a:pt x="7417" y="2607"/>
                </a:lnTo>
                <a:lnTo>
                  <a:pt x="7417" y="2582"/>
                </a:lnTo>
                <a:close/>
                <a:moveTo>
                  <a:pt x="7307" y="1872"/>
                </a:moveTo>
                <a:lnTo>
                  <a:pt x="7368" y="1872"/>
                </a:lnTo>
                <a:lnTo>
                  <a:pt x="7368" y="2607"/>
                </a:lnTo>
                <a:lnTo>
                  <a:pt x="7307" y="2607"/>
                </a:lnTo>
                <a:lnTo>
                  <a:pt x="7307" y="1872"/>
                </a:lnTo>
                <a:close/>
                <a:moveTo>
                  <a:pt x="7307" y="2790"/>
                </a:moveTo>
                <a:lnTo>
                  <a:pt x="7539" y="2790"/>
                </a:lnTo>
                <a:lnTo>
                  <a:pt x="7539" y="2925"/>
                </a:lnTo>
                <a:lnTo>
                  <a:pt x="7588" y="2925"/>
                </a:lnTo>
                <a:lnTo>
                  <a:pt x="7588" y="3158"/>
                </a:lnTo>
                <a:lnTo>
                  <a:pt x="7539" y="3158"/>
                </a:lnTo>
                <a:lnTo>
                  <a:pt x="7539" y="3268"/>
                </a:lnTo>
                <a:lnTo>
                  <a:pt x="7307" y="3268"/>
                </a:lnTo>
                <a:lnTo>
                  <a:pt x="7307" y="2790"/>
                </a:lnTo>
                <a:close/>
                <a:moveTo>
                  <a:pt x="7294" y="918"/>
                </a:moveTo>
                <a:lnTo>
                  <a:pt x="7294" y="881"/>
                </a:lnTo>
                <a:lnTo>
                  <a:pt x="7307" y="869"/>
                </a:lnTo>
                <a:lnTo>
                  <a:pt x="7356" y="918"/>
                </a:lnTo>
                <a:lnTo>
                  <a:pt x="7294" y="918"/>
                </a:lnTo>
                <a:close/>
                <a:moveTo>
                  <a:pt x="7294" y="820"/>
                </a:moveTo>
                <a:lnTo>
                  <a:pt x="7294" y="783"/>
                </a:lnTo>
                <a:lnTo>
                  <a:pt x="7356" y="783"/>
                </a:lnTo>
                <a:lnTo>
                  <a:pt x="7307" y="832"/>
                </a:lnTo>
                <a:lnTo>
                  <a:pt x="7294" y="820"/>
                </a:lnTo>
                <a:close/>
                <a:moveTo>
                  <a:pt x="7368" y="893"/>
                </a:moveTo>
                <a:lnTo>
                  <a:pt x="7331" y="857"/>
                </a:lnTo>
                <a:lnTo>
                  <a:pt x="7368" y="808"/>
                </a:lnTo>
                <a:lnTo>
                  <a:pt x="7368" y="893"/>
                </a:lnTo>
                <a:close/>
                <a:moveTo>
                  <a:pt x="7441" y="857"/>
                </a:moveTo>
                <a:lnTo>
                  <a:pt x="7392" y="893"/>
                </a:lnTo>
                <a:lnTo>
                  <a:pt x="7392" y="808"/>
                </a:lnTo>
                <a:lnTo>
                  <a:pt x="7441" y="857"/>
                </a:lnTo>
                <a:close/>
                <a:moveTo>
                  <a:pt x="7417" y="783"/>
                </a:moveTo>
                <a:lnTo>
                  <a:pt x="7502" y="783"/>
                </a:lnTo>
                <a:lnTo>
                  <a:pt x="7453" y="832"/>
                </a:lnTo>
                <a:lnTo>
                  <a:pt x="7417" y="783"/>
                </a:lnTo>
                <a:close/>
                <a:moveTo>
                  <a:pt x="7405" y="918"/>
                </a:moveTo>
                <a:lnTo>
                  <a:pt x="7453" y="869"/>
                </a:lnTo>
                <a:lnTo>
                  <a:pt x="7502" y="918"/>
                </a:lnTo>
                <a:lnTo>
                  <a:pt x="7405" y="918"/>
                </a:lnTo>
                <a:close/>
                <a:moveTo>
                  <a:pt x="7515" y="893"/>
                </a:moveTo>
                <a:lnTo>
                  <a:pt x="7466" y="857"/>
                </a:lnTo>
                <a:lnTo>
                  <a:pt x="7515" y="808"/>
                </a:lnTo>
                <a:lnTo>
                  <a:pt x="7515" y="893"/>
                </a:lnTo>
                <a:close/>
                <a:moveTo>
                  <a:pt x="7588" y="857"/>
                </a:moveTo>
                <a:lnTo>
                  <a:pt x="7539" y="893"/>
                </a:lnTo>
                <a:lnTo>
                  <a:pt x="7539" y="808"/>
                </a:lnTo>
                <a:lnTo>
                  <a:pt x="7588" y="857"/>
                </a:lnTo>
                <a:close/>
                <a:moveTo>
                  <a:pt x="7551" y="783"/>
                </a:moveTo>
                <a:lnTo>
                  <a:pt x="7649" y="783"/>
                </a:lnTo>
                <a:lnTo>
                  <a:pt x="7600" y="832"/>
                </a:lnTo>
                <a:lnTo>
                  <a:pt x="7551" y="783"/>
                </a:lnTo>
                <a:close/>
                <a:moveTo>
                  <a:pt x="7551" y="918"/>
                </a:moveTo>
                <a:lnTo>
                  <a:pt x="7600" y="869"/>
                </a:lnTo>
                <a:lnTo>
                  <a:pt x="7649" y="918"/>
                </a:lnTo>
                <a:lnTo>
                  <a:pt x="7551" y="918"/>
                </a:lnTo>
                <a:close/>
                <a:moveTo>
                  <a:pt x="7662" y="893"/>
                </a:moveTo>
                <a:lnTo>
                  <a:pt x="7613" y="857"/>
                </a:lnTo>
                <a:lnTo>
                  <a:pt x="7662" y="808"/>
                </a:lnTo>
                <a:lnTo>
                  <a:pt x="7662" y="893"/>
                </a:lnTo>
                <a:close/>
                <a:moveTo>
                  <a:pt x="7735" y="918"/>
                </a:moveTo>
                <a:lnTo>
                  <a:pt x="7698" y="918"/>
                </a:lnTo>
                <a:lnTo>
                  <a:pt x="7735" y="881"/>
                </a:lnTo>
                <a:lnTo>
                  <a:pt x="7735" y="918"/>
                </a:lnTo>
                <a:close/>
                <a:moveTo>
                  <a:pt x="7686" y="893"/>
                </a:moveTo>
                <a:lnTo>
                  <a:pt x="7686" y="808"/>
                </a:lnTo>
                <a:lnTo>
                  <a:pt x="7735" y="857"/>
                </a:lnTo>
                <a:lnTo>
                  <a:pt x="7686" y="893"/>
                </a:lnTo>
                <a:close/>
                <a:moveTo>
                  <a:pt x="7735" y="783"/>
                </a:moveTo>
                <a:lnTo>
                  <a:pt x="7735" y="820"/>
                </a:lnTo>
                <a:lnTo>
                  <a:pt x="7698" y="783"/>
                </a:lnTo>
                <a:lnTo>
                  <a:pt x="7735" y="783"/>
                </a:lnTo>
                <a:close/>
                <a:moveTo>
                  <a:pt x="7258" y="673"/>
                </a:moveTo>
                <a:lnTo>
                  <a:pt x="7258" y="526"/>
                </a:lnTo>
                <a:lnTo>
                  <a:pt x="7258" y="490"/>
                </a:lnTo>
                <a:lnTo>
                  <a:pt x="7258" y="343"/>
                </a:lnTo>
                <a:lnTo>
                  <a:pt x="7258" y="318"/>
                </a:lnTo>
                <a:lnTo>
                  <a:pt x="7698" y="759"/>
                </a:lnTo>
                <a:lnTo>
                  <a:pt x="7686" y="759"/>
                </a:lnTo>
                <a:lnTo>
                  <a:pt x="7662" y="759"/>
                </a:lnTo>
                <a:lnTo>
                  <a:pt x="7539" y="759"/>
                </a:lnTo>
                <a:lnTo>
                  <a:pt x="7515" y="759"/>
                </a:lnTo>
                <a:lnTo>
                  <a:pt x="7392" y="759"/>
                </a:lnTo>
                <a:lnTo>
                  <a:pt x="7368" y="759"/>
                </a:lnTo>
                <a:lnTo>
                  <a:pt x="7294" y="759"/>
                </a:lnTo>
                <a:lnTo>
                  <a:pt x="7294" y="673"/>
                </a:lnTo>
                <a:lnTo>
                  <a:pt x="7258" y="673"/>
                </a:lnTo>
                <a:lnTo>
                  <a:pt x="7258" y="673"/>
                </a:lnTo>
                <a:close/>
                <a:moveTo>
                  <a:pt x="7209" y="1995"/>
                </a:moveTo>
                <a:lnTo>
                  <a:pt x="7147" y="2068"/>
                </a:lnTo>
                <a:lnTo>
                  <a:pt x="7074" y="1995"/>
                </a:lnTo>
                <a:lnTo>
                  <a:pt x="7209" y="1995"/>
                </a:lnTo>
                <a:close/>
                <a:moveTo>
                  <a:pt x="7086" y="1946"/>
                </a:moveTo>
                <a:lnTo>
                  <a:pt x="7147" y="1872"/>
                </a:lnTo>
                <a:lnTo>
                  <a:pt x="7209" y="1946"/>
                </a:lnTo>
                <a:lnTo>
                  <a:pt x="7086" y="1946"/>
                </a:lnTo>
                <a:close/>
                <a:moveTo>
                  <a:pt x="7209" y="2191"/>
                </a:moveTo>
                <a:lnTo>
                  <a:pt x="7086" y="2191"/>
                </a:lnTo>
                <a:lnTo>
                  <a:pt x="7147" y="2117"/>
                </a:lnTo>
                <a:lnTo>
                  <a:pt x="7209" y="2191"/>
                </a:lnTo>
                <a:close/>
                <a:moveTo>
                  <a:pt x="7209" y="2240"/>
                </a:moveTo>
                <a:lnTo>
                  <a:pt x="7147" y="2313"/>
                </a:lnTo>
                <a:lnTo>
                  <a:pt x="7074" y="2240"/>
                </a:lnTo>
                <a:lnTo>
                  <a:pt x="7209" y="2240"/>
                </a:lnTo>
                <a:close/>
                <a:moveTo>
                  <a:pt x="7209" y="2435"/>
                </a:moveTo>
                <a:lnTo>
                  <a:pt x="7086" y="2435"/>
                </a:lnTo>
                <a:lnTo>
                  <a:pt x="7147" y="2362"/>
                </a:lnTo>
                <a:lnTo>
                  <a:pt x="7209" y="2435"/>
                </a:lnTo>
                <a:close/>
                <a:moveTo>
                  <a:pt x="7209" y="2484"/>
                </a:moveTo>
                <a:lnTo>
                  <a:pt x="7147" y="2558"/>
                </a:lnTo>
                <a:lnTo>
                  <a:pt x="7074" y="2484"/>
                </a:lnTo>
                <a:lnTo>
                  <a:pt x="7209" y="2484"/>
                </a:lnTo>
                <a:close/>
                <a:moveTo>
                  <a:pt x="7233" y="2509"/>
                </a:moveTo>
                <a:lnTo>
                  <a:pt x="7233" y="2656"/>
                </a:lnTo>
                <a:lnTo>
                  <a:pt x="7172" y="2582"/>
                </a:lnTo>
                <a:lnTo>
                  <a:pt x="7233" y="2509"/>
                </a:lnTo>
                <a:close/>
                <a:moveTo>
                  <a:pt x="7172" y="2338"/>
                </a:moveTo>
                <a:lnTo>
                  <a:pt x="7233" y="2264"/>
                </a:lnTo>
                <a:lnTo>
                  <a:pt x="7233" y="2411"/>
                </a:lnTo>
                <a:lnTo>
                  <a:pt x="7172" y="2338"/>
                </a:lnTo>
                <a:close/>
                <a:moveTo>
                  <a:pt x="7172" y="2093"/>
                </a:moveTo>
                <a:lnTo>
                  <a:pt x="7233" y="2019"/>
                </a:lnTo>
                <a:lnTo>
                  <a:pt x="7233" y="2166"/>
                </a:lnTo>
                <a:lnTo>
                  <a:pt x="7172" y="2093"/>
                </a:lnTo>
                <a:close/>
                <a:moveTo>
                  <a:pt x="7172" y="1848"/>
                </a:moveTo>
                <a:lnTo>
                  <a:pt x="7233" y="1775"/>
                </a:lnTo>
                <a:lnTo>
                  <a:pt x="7233" y="1921"/>
                </a:lnTo>
                <a:lnTo>
                  <a:pt x="7172" y="1848"/>
                </a:lnTo>
                <a:close/>
                <a:moveTo>
                  <a:pt x="7196" y="526"/>
                </a:moveTo>
                <a:lnTo>
                  <a:pt x="7147" y="587"/>
                </a:lnTo>
                <a:lnTo>
                  <a:pt x="7099" y="526"/>
                </a:lnTo>
                <a:lnTo>
                  <a:pt x="7196" y="526"/>
                </a:lnTo>
                <a:close/>
                <a:moveTo>
                  <a:pt x="7099" y="490"/>
                </a:moveTo>
                <a:lnTo>
                  <a:pt x="7147" y="428"/>
                </a:lnTo>
                <a:lnTo>
                  <a:pt x="7196" y="490"/>
                </a:lnTo>
                <a:lnTo>
                  <a:pt x="7099" y="490"/>
                </a:lnTo>
                <a:close/>
                <a:moveTo>
                  <a:pt x="7221" y="538"/>
                </a:moveTo>
                <a:lnTo>
                  <a:pt x="7221" y="661"/>
                </a:lnTo>
                <a:lnTo>
                  <a:pt x="7172" y="600"/>
                </a:lnTo>
                <a:lnTo>
                  <a:pt x="7221" y="538"/>
                </a:lnTo>
                <a:close/>
                <a:moveTo>
                  <a:pt x="7196" y="673"/>
                </a:moveTo>
                <a:lnTo>
                  <a:pt x="7099" y="673"/>
                </a:lnTo>
                <a:lnTo>
                  <a:pt x="7147" y="624"/>
                </a:lnTo>
                <a:lnTo>
                  <a:pt x="7196" y="673"/>
                </a:lnTo>
                <a:close/>
                <a:moveTo>
                  <a:pt x="7209" y="1297"/>
                </a:moveTo>
                <a:lnTo>
                  <a:pt x="7147" y="1358"/>
                </a:lnTo>
                <a:lnTo>
                  <a:pt x="7099" y="1297"/>
                </a:lnTo>
                <a:lnTo>
                  <a:pt x="7209" y="1297"/>
                </a:lnTo>
                <a:close/>
                <a:moveTo>
                  <a:pt x="7099" y="1261"/>
                </a:moveTo>
                <a:lnTo>
                  <a:pt x="7147" y="1212"/>
                </a:lnTo>
                <a:lnTo>
                  <a:pt x="7196" y="1261"/>
                </a:lnTo>
                <a:lnTo>
                  <a:pt x="7099" y="1261"/>
                </a:lnTo>
                <a:close/>
                <a:moveTo>
                  <a:pt x="7196" y="1444"/>
                </a:moveTo>
                <a:lnTo>
                  <a:pt x="7099" y="1444"/>
                </a:lnTo>
                <a:lnTo>
                  <a:pt x="7147" y="1395"/>
                </a:lnTo>
                <a:lnTo>
                  <a:pt x="7196" y="1444"/>
                </a:lnTo>
                <a:close/>
                <a:moveTo>
                  <a:pt x="7209" y="1481"/>
                </a:moveTo>
                <a:lnTo>
                  <a:pt x="7147" y="1542"/>
                </a:lnTo>
                <a:lnTo>
                  <a:pt x="7099" y="1481"/>
                </a:lnTo>
                <a:lnTo>
                  <a:pt x="7209" y="1481"/>
                </a:lnTo>
                <a:close/>
                <a:moveTo>
                  <a:pt x="7221" y="1505"/>
                </a:moveTo>
                <a:lnTo>
                  <a:pt x="7221" y="1615"/>
                </a:lnTo>
                <a:lnTo>
                  <a:pt x="7172" y="1567"/>
                </a:lnTo>
                <a:lnTo>
                  <a:pt x="7221" y="1505"/>
                </a:lnTo>
                <a:close/>
                <a:moveTo>
                  <a:pt x="7172" y="1371"/>
                </a:moveTo>
                <a:lnTo>
                  <a:pt x="7221" y="1322"/>
                </a:lnTo>
                <a:lnTo>
                  <a:pt x="7221" y="1432"/>
                </a:lnTo>
                <a:lnTo>
                  <a:pt x="7172" y="1371"/>
                </a:lnTo>
                <a:close/>
                <a:moveTo>
                  <a:pt x="7172" y="1187"/>
                </a:moveTo>
                <a:lnTo>
                  <a:pt x="7221" y="1126"/>
                </a:lnTo>
                <a:lnTo>
                  <a:pt x="7221" y="1248"/>
                </a:lnTo>
                <a:lnTo>
                  <a:pt x="7172" y="1187"/>
                </a:lnTo>
                <a:close/>
                <a:moveTo>
                  <a:pt x="7147" y="1175"/>
                </a:moveTo>
                <a:lnTo>
                  <a:pt x="7099" y="1114"/>
                </a:lnTo>
                <a:lnTo>
                  <a:pt x="7209" y="1114"/>
                </a:lnTo>
                <a:lnTo>
                  <a:pt x="7147" y="1175"/>
                </a:lnTo>
                <a:close/>
                <a:moveTo>
                  <a:pt x="7099" y="1077"/>
                </a:moveTo>
                <a:lnTo>
                  <a:pt x="7135" y="1028"/>
                </a:lnTo>
                <a:lnTo>
                  <a:pt x="7160" y="1028"/>
                </a:lnTo>
                <a:lnTo>
                  <a:pt x="7196" y="1077"/>
                </a:lnTo>
                <a:lnTo>
                  <a:pt x="7099" y="1077"/>
                </a:lnTo>
                <a:close/>
                <a:moveTo>
                  <a:pt x="7111" y="1028"/>
                </a:moveTo>
                <a:lnTo>
                  <a:pt x="7074" y="1065"/>
                </a:lnTo>
                <a:lnTo>
                  <a:pt x="7074" y="1028"/>
                </a:lnTo>
                <a:lnTo>
                  <a:pt x="7111" y="1028"/>
                </a:lnTo>
                <a:close/>
                <a:moveTo>
                  <a:pt x="7135" y="1187"/>
                </a:moveTo>
                <a:lnTo>
                  <a:pt x="7074" y="1248"/>
                </a:lnTo>
                <a:lnTo>
                  <a:pt x="7074" y="1126"/>
                </a:lnTo>
                <a:lnTo>
                  <a:pt x="7135" y="1187"/>
                </a:lnTo>
                <a:close/>
                <a:moveTo>
                  <a:pt x="7135" y="1371"/>
                </a:moveTo>
                <a:lnTo>
                  <a:pt x="7074" y="1432"/>
                </a:lnTo>
                <a:lnTo>
                  <a:pt x="7074" y="1310"/>
                </a:lnTo>
                <a:lnTo>
                  <a:pt x="7135" y="1371"/>
                </a:lnTo>
                <a:close/>
                <a:moveTo>
                  <a:pt x="7135" y="1567"/>
                </a:moveTo>
                <a:lnTo>
                  <a:pt x="7074" y="1628"/>
                </a:lnTo>
                <a:lnTo>
                  <a:pt x="7074" y="1505"/>
                </a:lnTo>
                <a:lnTo>
                  <a:pt x="7135" y="1567"/>
                </a:lnTo>
                <a:close/>
                <a:moveTo>
                  <a:pt x="7147" y="1579"/>
                </a:moveTo>
                <a:lnTo>
                  <a:pt x="7221" y="1652"/>
                </a:lnTo>
                <a:lnTo>
                  <a:pt x="7221" y="1701"/>
                </a:lnTo>
                <a:lnTo>
                  <a:pt x="7074" y="1701"/>
                </a:lnTo>
                <a:lnTo>
                  <a:pt x="7074" y="1664"/>
                </a:lnTo>
                <a:lnTo>
                  <a:pt x="7147" y="1579"/>
                </a:lnTo>
                <a:close/>
                <a:moveTo>
                  <a:pt x="7221" y="1065"/>
                </a:moveTo>
                <a:lnTo>
                  <a:pt x="7196" y="1028"/>
                </a:lnTo>
                <a:lnTo>
                  <a:pt x="7221" y="1028"/>
                </a:lnTo>
                <a:lnTo>
                  <a:pt x="7221" y="1065"/>
                </a:lnTo>
                <a:close/>
                <a:moveTo>
                  <a:pt x="7221" y="477"/>
                </a:moveTo>
                <a:lnTo>
                  <a:pt x="7172" y="416"/>
                </a:lnTo>
                <a:lnTo>
                  <a:pt x="7221" y="355"/>
                </a:lnTo>
                <a:lnTo>
                  <a:pt x="7221" y="477"/>
                </a:lnTo>
                <a:close/>
                <a:moveTo>
                  <a:pt x="7209" y="343"/>
                </a:moveTo>
                <a:lnTo>
                  <a:pt x="7147" y="392"/>
                </a:lnTo>
                <a:lnTo>
                  <a:pt x="7099" y="343"/>
                </a:lnTo>
                <a:lnTo>
                  <a:pt x="7209" y="343"/>
                </a:lnTo>
                <a:close/>
                <a:moveTo>
                  <a:pt x="7074" y="355"/>
                </a:moveTo>
                <a:lnTo>
                  <a:pt x="7135" y="416"/>
                </a:lnTo>
                <a:lnTo>
                  <a:pt x="7074" y="477"/>
                </a:lnTo>
                <a:lnTo>
                  <a:pt x="7074" y="355"/>
                </a:lnTo>
                <a:close/>
                <a:moveTo>
                  <a:pt x="7074" y="538"/>
                </a:moveTo>
                <a:lnTo>
                  <a:pt x="7135" y="600"/>
                </a:lnTo>
                <a:lnTo>
                  <a:pt x="7074" y="661"/>
                </a:lnTo>
                <a:lnTo>
                  <a:pt x="7074" y="538"/>
                </a:lnTo>
                <a:close/>
                <a:moveTo>
                  <a:pt x="7209" y="1750"/>
                </a:moveTo>
                <a:lnTo>
                  <a:pt x="7147" y="1824"/>
                </a:lnTo>
                <a:lnTo>
                  <a:pt x="7074" y="1750"/>
                </a:lnTo>
                <a:lnTo>
                  <a:pt x="7209" y="1750"/>
                </a:lnTo>
                <a:close/>
                <a:moveTo>
                  <a:pt x="7050" y="1775"/>
                </a:moveTo>
                <a:lnTo>
                  <a:pt x="7123" y="1848"/>
                </a:lnTo>
                <a:lnTo>
                  <a:pt x="7050" y="1934"/>
                </a:lnTo>
                <a:lnTo>
                  <a:pt x="7050" y="1775"/>
                </a:lnTo>
                <a:close/>
                <a:moveTo>
                  <a:pt x="7050" y="2019"/>
                </a:moveTo>
                <a:lnTo>
                  <a:pt x="7123" y="2093"/>
                </a:lnTo>
                <a:lnTo>
                  <a:pt x="7050" y="2178"/>
                </a:lnTo>
                <a:lnTo>
                  <a:pt x="7050" y="2019"/>
                </a:lnTo>
                <a:close/>
                <a:moveTo>
                  <a:pt x="7050" y="2264"/>
                </a:moveTo>
                <a:lnTo>
                  <a:pt x="7123" y="2338"/>
                </a:lnTo>
                <a:lnTo>
                  <a:pt x="7050" y="2423"/>
                </a:lnTo>
                <a:lnTo>
                  <a:pt x="7050" y="2264"/>
                </a:lnTo>
                <a:close/>
                <a:moveTo>
                  <a:pt x="7050" y="2497"/>
                </a:moveTo>
                <a:lnTo>
                  <a:pt x="7123" y="2582"/>
                </a:lnTo>
                <a:lnTo>
                  <a:pt x="7050" y="2656"/>
                </a:lnTo>
                <a:lnTo>
                  <a:pt x="7050" y="2497"/>
                </a:lnTo>
                <a:close/>
                <a:moveTo>
                  <a:pt x="7050" y="2705"/>
                </a:moveTo>
                <a:lnTo>
                  <a:pt x="7050" y="2705"/>
                </a:lnTo>
                <a:lnTo>
                  <a:pt x="7147" y="2607"/>
                </a:lnTo>
                <a:lnTo>
                  <a:pt x="7233" y="2705"/>
                </a:lnTo>
                <a:lnTo>
                  <a:pt x="7233" y="2741"/>
                </a:lnTo>
                <a:lnTo>
                  <a:pt x="7050" y="2741"/>
                </a:lnTo>
                <a:lnTo>
                  <a:pt x="7050" y="2705"/>
                </a:lnTo>
                <a:close/>
                <a:moveTo>
                  <a:pt x="7209" y="2986"/>
                </a:moveTo>
                <a:lnTo>
                  <a:pt x="7086" y="2986"/>
                </a:lnTo>
                <a:lnTo>
                  <a:pt x="7147" y="2913"/>
                </a:lnTo>
                <a:lnTo>
                  <a:pt x="7209" y="2986"/>
                </a:lnTo>
                <a:close/>
                <a:moveTo>
                  <a:pt x="7074" y="2790"/>
                </a:moveTo>
                <a:lnTo>
                  <a:pt x="7209" y="2790"/>
                </a:lnTo>
                <a:lnTo>
                  <a:pt x="7147" y="2864"/>
                </a:lnTo>
                <a:lnTo>
                  <a:pt x="7074" y="2790"/>
                </a:lnTo>
                <a:close/>
                <a:moveTo>
                  <a:pt x="7209" y="3035"/>
                </a:moveTo>
                <a:lnTo>
                  <a:pt x="7147" y="3109"/>
                </a:lnTo>
                <a:lnTo>
                  <a:pt x="7074" y="3035"/>
                </a:lnTo>
                <a:lnTo>
                  <a:pt x="7209" y="3035"/>
                </a:lnTo>
                <a:close/>
                <a:moveTo>
                  <a:pt x="7209" y="3231"/>
                </a:moveTo>
                <a:lnTo>
                  <a:pt x="7086" y="3231"/>
                </a:lnTo>
                <a:lnTo>
                  <a:pt x="7147" y="3158"/>
                </a:lnTo>
                <a:lnTo>
                  <a:pt x="7209" y="3231"/>
                </a:lnTo>
                <a:close/>
                <a:moveTo>
                  <a:pt x="7209" y="3280"/>
                </a:moveTo>
                <a:lnTo>
                  <a:pt x="7147" y="3353"/>
                </a:lnTo>
                <a:lnTo>
                  <a:pt x="7074" y="3280"/>
                </a:lnTo>
                <a:lnTo>
                  <a:pt x="7209" y="3280"/>
                </a:lnTo>
                <a:close/>
                <a:moveTo>
                  <a:pt x="7209" y="3476"/>
                </a:moveTo>
                <a:lnTo>
                  <a:pt x="7086" y="3476"/>
                </a:lnTo>
                <a:lnTo>
                  <a:pt x="7147" y="3402"/>
                </a:lnTo>
                <a:lnTo>
                  <a:pt x="7209" y="3476"/>
                </a:lnTo>
                <a:close/>
                <a:moveTo>
                  <a:pt x="7209" y="3525"/>
                </a:moveTo>
                <a:lnTo>
                  <a:pt x="7147" y="3598"/>
                </a:lnTo>
                <a:lnTo>
                  <a:pt x="7074" y="3525"/>
                </a:lnTo>
                <a:lnTo>
                  <a:pt x="7209" y="3525"/>
                </a:lnTo>
                <a:close/>
                <a:moveTo>
                  <a:pt x="7233" y="3549"/>
                </a:moveTo>
                <a:lnTo>
                  <a:pt x="7233" y="3696"/>
                </a:lnTo>
                <a:lnTo>
                  <a:pt x="7172" y="3623"/>
                </a:lnTo>
                <a:lnTo>
                  <a:pt x="7233" y="3549"/>
                </a:lnTo>
                <a:close/>
                <a:moveTo>
                  <a:pt x="7172" y="3378"/>
                </a:moveTo>
                <a:lnTo>
                  <a:pt x="7233" y="3304"/>
                </a:lnTo>
                <a:lnTo>
                  <a:pt x="7233" y="3451"/>
                </a:lnTo>
                <a:lnTo>
                  <a:pt x="7172" y="3378"/>
                </a:lnTo>
                <a:close/>
                <a:moveTo>
                  <a:pt x="7172" y="3133"/>
                </a:moveTo>
                <a:lnTo>
                  <a:pt x="7233" y="3060"/>
                </a:lnTo>
                <a:lnTo>
                  <a:pt x="7233" y="3207"/>
                </a:lnTo>
                <a:lnTo>
                  <a:pt x="7172" y="3133"/>
                </a:lnTo>
                <a:close/>
                <a:moveTo>
                  <a:pt x="7172" y="2888"/>
                </a:moveTo>
                <a:lnTo>
                  <a:pt x="7233" y="2815"/>
                </a:lnTo>
                <a:lnTo>
                  <a:pt x="7233" y="2962"/>
                </a:lnTo>
                <a:lnTo>
                  <a:pt x="7172" y="2888"/>
                </a:lnTo>
                <a:close/>
                <a:moveTo>
                  <a:pt x="7050" y="2815"/>
                </a:moveTo>
                <a:lnTo>
                  <a:pt x="7123" y="2888"/>
                </a:lnTo>
                <a:lnTo>
                  <a:pt x="7050" y="2974"/>
                </a:lnTo>
                <a:lnTo>
                  <a:pt x="7050" y="2815"/>
                </a:lnTo>
                <a:close/>
                <a:moveTo>
                  <a:pt x="7050" y="3060"/>
                </a:moveTo>
                <a:lnTo>
                  <a:pt x="7123" y="3133"/>
                </a:lnTo>
                <a:lnTo>
                  <a:pt x="7050" y="3219"/>
                </a:lnTo>
                <a:lnTo>
                  <a:pt x="7050" y="3060"/>
                </a:lnTo>
                <a:close/>
                <a:moveTo>
                  <a:pt x="7050" y="3292"/>
                </a:moveTo>
                <a:lnTo>
                  <a:pt x="7123" y="3378"/>
                </a:lnTo>
                <a:lnTo>
                  <a:pt x="7050" y="3451"/>
                </a:lnTo>
                <a:lnTo>
                  <a:pt x="7050" y="3292"/>
                </a:lnTo>
                <a:close/>
                <a:moveTo>
                  <a:pt x="7050" y="3537"/>
                </a:moveTo>
                <a:lnTo>
                  <a:pt x="7123" y="3623"/>
                </a:lnTo>
                <a:lnTo>
                  <a:pt x="7050" y="3696"/>
                </a:lnTo>
                <a:lnTo>
                  <a:pt x="7050" y="3537"/>
                </a:lnTo>
                <a:close/>
                <a:moveTo>
                  <a:pt x="7050" y="3806"/>
                </a:moveTo>
                <a:lnTo>
                  <a:pt x="7050" y="3745"/>
                </a:lnTo>
                <a:lnTo>
                  <a:pt x="7050" y="3745"/>
                </a:lnTo>
                <a:lnTo>
                  <a:pt x="7147" y="3647"/>
                </a:lnTo>
                <a:lnTo>
                  <a:pt x="7233" y="3745"/>
                </a:lnTo>
                <a:lnTo>
                  <a:pt x="7233" y="3806"/>
                </a:lnTo>
                <a:lnTo>
                  <a:pt x="7282" y="3806"/>
                </a:lnTo>
                <a:lnTo>
                  <a:pt x="7282" y="3818"/>
                </a:lnTo>
                <a:lnTo>
                  <a:pt x="7050" y="3818"/>
                </a:lnTo>
                <a:lnTo>
                  <a:pt x="7050" y="3806"/>
                </a:lnTo>
                <a:lnTo>
                  <a:pt x="7050" y="3806"/>
                </a:lnTo>
                <a:close/>
                <a:moveTo>
                  <a:pt x="6389" y="1383"/>
                </a:moveTo>
                <a:lnTo>
                  <a:pt x="6621" y="1383"/>
                </a:lnTo>
                <a:lnTo>
                  <a:pt x="6621" y="1493"/>
                </a:lnTo>
                <a:lnTo>
                  <a:pt x="6389" y="1493"/>
                </a:lnTo>
                <a:lnTo>
                  <a:pt x="6389" y="1383"/>
                </a:lnTo>
                <a:close/>
                <a:moveTo>
                  <a:pt x="6389" y="1554"/>
                </a:moveTo>
                <a:lnTo>
                  <a:pt x="6621" y="1554"/>
                </a:lnTo>
                <a:lnTo>
                  <a:pt x="6621" y="1664"/>
                </a:lnTo>
                <a:lnTo>
                  <a:pt x="6389" y="1664"/>
                </a:lnTo>
                <a:lnTo>
                  <a:pt x="6389" y="1554"/>
                </a:lnTo>
                <a:close/>
                <a:moveTo>
                  <a:pt x="6389" y="1713"/>
                </a:moveTo>
                <a:lnTo>
                  <a:pt x="6621" y="1713"/>
                </a:lnTo>
                <a:lnTo>
                  <a:pt x="6621" y="1824"/>
                </a:lnTo>
                <a:lnTo>
                  <a:pt x="6389" y="1824"/>
                </a:lnTo>
                <a:lnTo>
                  <a:pt x="6389" y="1713"/>
                </a:lnTo>
                <a:close/>
                <a:moveTo>
                  <a:pt x="6389" y="1885"/>
                </a:moveTo>
                <a:lnTo>
                  <a:pt x="6621" y="1885"/>
                </a:lnTo>
                <a:lnTo>
                  <a:pt x="6621" y="1995"/>
                </a:lnTo>
                <a:lnTo>
                  <a:pt x="6389" y="1995"/>
                </a:lnTo>
                <a:lnTo>
                  <a:pt x="6389" y="1885"/>
                </a:lnTo>
                <a:close/>
                <a:moveTo>
                  <a:pt x="6389" y="2044"/>
                </a:moveTo>
                <a:lnTo>
                  <a:pt x="6621" y="2044"/>
                </a:lnTo>
                <a:lnTo>
                  <a:pt x="6621" y="2154"/>
                </a:lnTo>
                <a:lnTo>
                  <a:pt x="6389" y="2154"/>
                </a:lnTo>
                <a:lnTo>
                  <a:pt x="6389" y="2044"/>
                </a:lnTo>
                <a:close/>
                <a:moveTo>
                  <a:pt x="6389" y="2215"/>
                </a:moveTo>
                <a:lnTo>
                  <a:pt x="6621" y="2215"/>
                </a:lnTo>
                <a:lnTo>
                  <a:pt x="6621" y="2325"/>
                </a:lnTo>
                <a:lnTo>
                  <a:pt x="6389" y="2325"/>
                </a:lnTo>
                <a:lnTo>
                  <a:pt x="6389" y="2215"/>
                </a:lnTo>
                <a:close/>
                <a:moveTo>
                  <a:pt x="6389" y="2374"/>
                </a:moveTo>
                <a:lnTo>
                  <a:pt x="6621" y="2374"/>
                </a:lnTo>
                <a:lnTo>
                  <a:pt x="6621" y="2484"/>
                </a:lnTo>
                <a:lnTo>
                  <a:pt x="6389" y="2484"/>
                </a:lnTo>
                <a:lnTo>
                  <a:pt x="6389" y="2374"/>
                </a:lnTo>
                <a:close/>
                <a:moveTo>
                  <a:pt x="6389" y="2546"/>
                </a:moveTo>
                <a:lnTo>
                  <a:pt x="6621" y="2546"/>
                </a:lnTo>
                <a:lnTo>
                  <a:pt x="6621" y="2656"/>
                </a:lnTo>
                <a:lnTo>
                  <a:pt x="6389" y="2656"/>
                </a:lnTo>
                <a:lnTo>
                  <a:pt x="6389" y="2546"/>
                </a:lnTo>
                <a:close/>
                <a:moveTo>
                  <a:pt x="6389" y="2705"/>
                </a:moveTo>
                <a:lnTo>
                  <a:pt x="6621" y="2705"/>
                </a:lnTo>
                <a:lnTo>
                  <a:pt x="6621" y="2815"/>
                </a:lnTo>
                <a:lnTo>
                  <a:pt x="6389" y="2815"/>
                </a:lnTo>
                <a:lnTo>
                  <a:pt x="6389" y="2705"/>
                </a:lnTo>
                <a:close/>
                <a:moveTo>
                  <a:pt x="6389" y="2876"/>
                </a:moveTo>
                <a:lnTo>
                  <a:pt x="6621" y="2876"/>
                </a:lnTo>
                <a:lnTo>
                  <a:pt x="6621" y="2974"/>
                </a:lnTo>
                <a:lnTo>
                  <a:pt x="6389" y="2974"/>
                </a:lnTo>
                <a:lnTo>
                  <a:pt x="6389" y="2876"/>
                </a:lnTo>
                <a:close/>
                <a:moveTo>
                  <a:pt x="5985" y="1383"/>
                </a:moveTo>
                <a:lnTo>
                  <a:pt x="6217" y="1383"/>
                </a:lnTo>
                <a:lnTo>
                  <a:pt x="6217" y="1493"/>
                </a:lnTo>
                <a:lnTo>
                  <a:pt x="5985" y="1493"/>
                </a:lnTo>
                <a:lnTo>
                  <a:pt x="5985" y="1383"/>
                </a:lnTo>
                <a:close/>
                <a:moveTo>
                  <a:pt x="5985" y="1554"/>
                </a:moveTo>
                <a:lnTo>
                  <a:pt x="6217" y="1554"/>
                </a:lnTo>
                <a:lnTo>
                  <a:pt x="6217" y="1664"/>
                </a:lnTo>
                <a:lnTo>
                  <a:pt x="5985" y="1664"/>
                </a:lnTo>
                <a:lnTo>
                  <a:pt x="5985" y="1554"/>
                </a:lnTo>
                <a:close/>
                <a:moveTo>
                  <a:pt x="5985" y="1713"/>
                </a:moveTo>
                <a:lnTo>
                  <a:pt x="6217" y="1713"/>
                </a:lnTo>
                <a:lnTo>
                  <a:pt x="6217" y="1824"/>
                </a:lnTo>
                <a:lnTo>
                  <a:pt x="5985" y="1824"/>
                </a:lnTo>
                <a:lnTo>
                  <a:pt x="5985" y="1713"/>
                </a:lnTo>
                <a:close/>
                <a:moveTo>
                  <a:pt x="5985" y="1885"/>
                </a:moveTo>
                <a:lnTo>
                  <a:pt x="6217" y="1885"/>
                </a:lnTo>
                <a:lnTo>
                  <a:pt x="6217" y="1995"/>
                </a:lnTo>
                <a:lnTo>
                  <a:pt x="5985" y="1995"/>
                </a:lnTo>
                <a:lnTo>
                  <a:pt x="5985" y="1885"/>
                </a:lnTo>
                <a:close/>
                <a:moveTo>
                  <a:pt x="5985" y="2044"/>
                </a:moveTo>
                <a:lnTo>
                  <a:pt x="6217" y="2044"/>
                </a:lnTo>
                <a:lnTo>
                  <a:pt x="6217" y="2154"/>
                </a:lnTo>
                <a:lnTo>
                  <a:pt x="5985" y="2154"/>
                </a:lnTo>
                <a:lnTo>
                  <a:pt x="5985" y="2044"/>
                </a:lnTo>
                <a:close/>
                <a:moveTo>
                  <a:pt x="5985" y="2215"/>
                </a:moveTo>
                <a:lnTo>
                  <a:pt x="6217" y="2215"/>
                </a:lnTo>
                <a:lnTo>
                  <a:pt x="6217" y="2325"/>
                </a:lnTo>
                <a:lnTo>
                  <a:pt x="5985" y="2325"/>
                </a:lnTo>
                <a:lnTo>
                  <a:pt x="5985" y="2215"/>
                </a:lnTo>
                <a:close/>
                <a:moveTo>
                  <a:pt x="5985" y="2374"/>
                </a:moveTo>
                <a:lnTo>
                  <a:pt x="6217" y="2374"/>
                </a:lnTo>
                <a:lnTo>
                  <a:pt x="6217" y="2484"/>
                </a:lnTo>
                <a:lnTo>
                  <a:pt x="5985" y="2484"/>
                </a:lnTo>
                <a:lnTo>
                  <a:pt x="5985" y="2374"/>
                </a:lnTo>
                <a:close/>
                <a:moveTo>
                  <a:pt x="5985" y="2546"/>
                </a:moveTo>
                <a:lnTo>
                  <a:pt x="6217" y="2546"/>
                </a:lnTo>
                <a:lnTo>
                  <a:pt x="6217" y="2656"/>
                </a:lnTo>
                <a:lnTo>
                  <a:pt x="5985" y="2656"/>
                </a:lnTo>
                <a:lnTo>
                  <a:pt x="5985" y="2546"/>
                </a:lnTo>
                <a:close/>
                <a:moveTo>
                  <a:pt x="5985" y="2705"/>
                </a:moveTo>
                <a:lnTo>
                  <a:pt x="6217" y="2705"/>
                </a:lnTo>
                <a:lnTo>
                  <a:pt x="6217" y="2815"/>
                </a:lnTo>
                <a:lnTo>
                  <a:pt x="5985" y="2815"/>
                </a:lnTo>
                <a:lnTo>
                  <a:pt x="5985" y="2705"/>
                </a:lnTo>
                <a:close/>
                <a:moveTo>
                  <a:pt x="5985" y="2876"/>
                </a:moveTo>
                <a:lnTo>
                  <a:pt x="6217" y="2876"/>
                </a:lnTo>
                <a:lnTo>
                  <a:pt x="6217" y="2974"/>
                </a:lnTo>
                <a:lnTo>
                  <a:pt x="5985" y="2974"/>
                </a:lnTo>
                <a:lnTo>
                  <a:pt x="5985" y="2876"/>
                </a:lnTo>
                <a:close/>
                <a:moveTo>
                  <a:pt x="5312" y="3378"/>
                </a:moveTo>
                <a:lnTo>
                  <a:pt x="5373" y="3378"/>
                </a:lnTo>
                <a:lnTo>
                  <a:pt x="5373" y="3464"/>
                </a:lnTo>
                <a:lnTo>
                  <a:pt x="5312" y="3464"/>
                </a:lnTo>
                <a:lnTo>
                  <a:pt x="5312" y="3378"/>
                </a:lnTo>
                <a:close/>
                <a:moveTo>
                  <a:pt x="5312" y="3500"/>
                </a:moveTo>
                <a:lnTo>
                  <a:pt x="5373" y="3500"/>
                </a:lnTo>
                <a:lnTo>
                  <a:pt x="5373" y="3525"/>
                </a:lnTo>
                <a:lnTo>
                  <a:pt x="5312" y="3525"/>
                </a:lnTo>
                <a:lnTo>
                  <a:pt x="5312" y="3500"/>
                </a:lnTo>
                <a:close/>
                <a:moveTo>
                  <a:pt x="5312" y="3549"/>
                </a:moveTo>
                <a:lnTo>
                  <a:pt x="5373" y="3549"/>
                </a:lnTo>
                <a:lnTo>
                  <a:pt x="5373" y="3549"/>
                </a:lnTo>
                <a:lnTo>
                  <a:pt x="5312" y="3549"/>
                </a:lnTo>
                <a:lnTo>
                  <a:pt x="5312" y="3549"/>
                </a:lnTo>
                <a:close/>
                <a:moveTo>
                  <a:pt x="5312" y="3586"/>
                </a:moveTo>
                <a:lnTo>
                  <a:pt x="5373" y="3586"/>
                </a:lnTo>
                <a:lnTo>
                  <a:pt x="5373" y="3659"/>
                </a:lnTo>
                <a:lnTo>
                  <a:pt x="5312" y="3659"/>
                </a:lnTo>
                <a:lnTo>
                  <a:pt x="5312" y="3586"/>
                </a:lnTo>
                <a:close/>
                <a:moveTo>
                  <a:pt x="5312" y="3708"/>
                </a:moveTo>
                <a:lnTo>
                  <a:pt x="5373" y="3708"/>
                </a:lnTo>
                <a:lnTo>
                  <a:pt x="5373" y="3745"/>
                </a:lnTo>
                <a:lnTo>
                  <a:pt x="5312" y="3745"/>
                </a:lnTo>
                <a:lnTo>
                  <a:pt x="5312" y="3708"/>
                </a:lnTo>
                <a:close/>
                <a:moveTo>
                  <a:pt x="5373" y="3782"/>
                </a:moveTo>
                <a:lnTo>
                  <a:pt x="5373" y="3818"/>
                </a:lnTo>
                <a:lnTo>
                  <a:pt x="5312" y="3818"/>
                </a:lnTo>
                <a:lnTo>
                  <a:pt x="5312" y="3782"/>
                </a:lnTo>
                <a:lnTo>
                  <a:pt x="5373" y="3782"/>
                </a:lnTo>
                <a:close/>
                <a:moveTo>
                  <a:pt x="5275" y="3549"/>
                </a:moveTo>
                <a:lnTo>
                  <a:pt x="5275" y="3549"/>
                </a:lnTo>
                <a:lnTo>
                  <a:pt x="5238" y="3549"/>
                </a:lnTo>
                <a:lnTo>
                  <a:pt x="5238" y="3549"/>
                </a:lnTo>
                <a:lnTo>
                  <a:pt x="5275" y="3549"/>
                </a:lnTo>
                <a:close/>
                <a:moveTo>
                  <a:pt x="5238" y="3525"/>
                </a:moveTo>
                <a:lnTo>
                  <a:pt x="5238" y="3500"/>
                </a:lnTo>
                <a:lnTo>
                  <a:pt x="5275" y="3500"/>
                </a:lnTo>
                <a:lnTo>
                  <a:pt x="5275" y="3525"/>
                </a:lnTo>
                <a:lnTo>
                  <a:pt x="5238" y="3525"/>
                </a:lnTo>
                <a:close/>
                <a:moveTo>
                  <a:pt x="5275" y="3586"/>
                </a:moveTo>
                <a:lnTo>
                  <a:pt x="5275" y="3659"/>
                </a:lnTo>
                <a:lnTo>
                  <a:pt x="5238" y="3659"/>
                </a:lnTo>
                <a:lnTo>
                  <a:pt x="5238" y="3586"/>
                </a:lnTo>
                <a:lnTo>
                  <a:pt x="5275" y="3586"/>
                </a:lnTo>
                <a:close/>
                <a:moveTo>
                  <a:pt x="5275" y="3708"/>
                </a:moveTo>
                <a:lnTo>
                  <a:pt x="5275" y="3745"/>
                </a:lnTo>
                <a:lnTo>
                  <a:pt x="5238" y="3745"/>
                </a:lnTo>
                <a:lnTo>
                  <a:pt x="5238" y="3708"/>
                </a:lnTo>
                <a:lnTo>
                  <a:pt x="5275" y="3708"/>
                </a:lnTo>
                <a:close/>
                <a:moveTo>
                  <a:pt x="5275" y="3782"/>
                </a:moveTo>
                <a:lnTo>
                  <a:pt x="5275" y="3818"/>
                </a:lnTo>
                <a:lnTo>
                  <a:pt x="5238" y="3818"/>
                </a:lnTo>
                <a:lnTo>
                  <a:pt x="5238" y="3782"/>
                </a:lnTo>
                <a:lnTo>
                  <a:pt x="5275" y="3782"/>
                </a:lnTo>
                <a:close/>
                <a:moveTo>
                  <a:pt x="5189" y="3047"/>
                </a:moveTo>
                <a:lnTo>
                  <a:pt x="5275" y="3047"/>
                </a:lnTo>
                <a:lnTo>
                  <a:pt x="5275" y="3182"/>
                </a:lnTo>
                <a:lnTo>
                  <a:pt x="5189" y="3182"/>
                </a:lnTo>
                <a:lnTo>
                  <a:pt x="5189" y="3047"/>
                </a:lnTo>
                <a:close/>
                <a:moveTo>
                  <a:pt x="5189" y="3207"/>
                </a:moveTo>
                <a:lnTo>
                  <a:pt x="5275" y="3207"/>
                </a:lnTo>
                <a:lnTo>
                  <a:pt x="5275" y="3341"/>
                </a:lnTo>
                <a:lnTo>
                  <a:pt x="5189" y="3341"/>
                </a:lnTo>
                <a:lnTo>
                  <a:pt x="5189" y="3207"/>
                </a:lnTo>
                <a:close/>
                <a:moveTo>
                  <a:pt x="5189" y="3378"/>
                </a:moveTo>
                <a:lnTo>
                  <a:pt x="5275" y="3378"/>
                </a:lnTo>
                <a:lnTo>
                  <a:pt x="5275" y="3464"/>
                </a:lnTo>
                <a:lnTo>
                  <a:pt x="5238" y="3464"/>
                </a:lnTo>
                <a:lnTo>
                  <a:pt x="5238" y="3427"/>
                </a:lnTo>
                <a:lnTo>
                  <a:pt x="5201" y="3427"/>
                </a:lnTo>
                <a:lnTo>
                  <a:pt x="5201" y="3464"/>
                </a:lnTo>
                <a:lnTo>
                  <a:pt x="5189" y="3464"/>
                </a:lnTo>
                <a:lnTo>
                  <a:pt x="5189" y="3378"/>
                </a:lnTo>
                <a:close/>
                <a:moveTo>
                  <a:pt x="5189" y="3500"/>
                </a:moveTo>
                <a:lnTo>
                  <a:pt x="5201" y="3500"/>
                </a:lnTo>
                <a:lnTo>
                  <a:pt x="5201" y="3525"/>
                </a:lnTo>
                <a:lnTo>
                  <a:pt x="5189" y="3525"/>
                </a:lnTo>
                <a:lnTo>
                  <a:pt x="5189" y="3500"/>
                </a:lnTo>
                <a:close/>
                <a:moveTo>
                  <a:pt x="5189" y="3549"/>
                </a:moveTo>
                <a:lnTo>
                  <a:pt x="5201" y="3549"/>
                </a:lnTo>
                <a:lnTo>
                  <a:pt x="5201" y="3549"/>
                </a:lnTo>
                <a:lnTo>
                  <a:pt x="5189" y="3549"/>
                </a:lnTo>
                <a:lnTo>
                  <a:pt x="5189" y="3549"/>
                </a:lnTo>
                <a:close/>
                <a:moveTo>
                  <a:pt x="5189" y="3586"/>
                </a:moveTo>
                <a:lnTo>
                  <a:pt x="5201" y="3586"/>
                </a:lnTo>
                <a:lnTo>
                  <a:pt x="5201" y="3659"/>
                </a:lnTo>
                <a:lnTo>
                  <a:pt x="5189" y="3659"/>
                </a:lnTo>
                <a:lnTo>
                  <a:pt x="5189" y="3586"/>
                </a:lnTo>
                <a:close/>
                <a:moveTo>
                  <a:pt x="5189" y="3708"/>
                </a:moveTo>
                <a:lnTo>
                  <a:pt x="5201" y="3708"/>
                </a:lnTo>
                <a:lnTo>
                  <a:pt x="5201" y="3745"/>
                </a:lnTo>
                <a:lnTo>
                  <a:pt x="5189" y="3745"/>
                </a:lnTo>
                <a:lnTo>
                  <a:pt x="5189" y="3708"/>
                </a:lnTo>
                <a:close/>
                <a:moveTo>
                  <a:pt x="5201" y="3782"/>
                </a:moveTo>
                <a:lnTo>
                  <a:pt x="5201" y="3818"/>
                </a:lnTo>
                <a:lnTo>
                  <a:pt x="5189" y="3818"/>
                </a:lnTo>
                <a:lnTo>
                  <a:pt x="5189" y="3782"/>
                </a:lnTo>
                <a:lnTo>
                  <a:pt x="5201" y="3782"/>
                </a:lnTo>
                <a:close/>
                <a:moveTo>
                  <a:pt x="5153" y="3207"/>
                </a:moveTo>
                <a:lnTo>
                  <a:pt x="5153" y="3341"/>
                </a:lnTo>
                <a:lnTo>
                  <a:pt x="4969" y="3341"/>
                </a:lnTo>
                <a:lnTo>
                  <a:pt x="4969" y="3207"/>
                </a:lnTo>
                <a:lnTo>
                  <a:pt x="5153" y="3207"/>
                </a:lnTo>
                <a:close/>
                <a:moveTo>
                  <a:pt x="4969" y="3182"/>
                </a:moveTo>
                <a:lnTo>
                  <a:pt x="4969" y="3047"/>
                </a:lnTo>
                <a:lnTo>
                  <a:pt x="5153" y="3047"/>
                </a:lnTo>
                <a:lnTo>
                  <a:pt x="5153" y="3182"/>
                </a:lnTo>
                <a:lnTo>
                  <a:pt x="4969" y="3182"/>
                </a:lnTo>
                <a:close/>
                <a:moveTo>
                  <a:pt x="5153" y="3378"/>
                </a:moveTo>
                <a:lnTo>
                  <a:pt x="5153" y="3464"/>
                </a:lnTo>
                <a:lnTo>
                  <a:pt x="5067" y="3464"/>
                </a:lnTo>
                <a:lnTo>
                  <a:pt x="5067" y="3451"/>
                </a:lnTo>
                <a:lnTo>
                  <a:pt x="5030" y="3451"/>
                </a:lnTo>
                <a:lnTo>
                  <a:pt x="5030" y="3464"/>
                </a:lnTo>
                <a:lnTo>
                  <a:pt x="4969" y="3464"/>
                </a:lnTo>
                <a:lnTo>
                  <a:pt x="4969" y="3378"/>
                </a:lnTo>
                <a:lnTo>
                  <a:pt x="5153" y="3378"/>
                </a:lnTo>
                <a:close/>
                <a:moveTo>
                  <a:pt x="5067" y="3659"/>
                </a:moveTo>
                <a:lnTo>
                  <a:pt x="5067" y="3586"/>
                </a:lnTo>
                <a:lnTo>
                  <a:pt x="5153" y="3586"/>
                </a:lnTo>
                <a:lnTo>
                  <a:pt x="5153" y="3659"/>
                </a:lnTo>
                <a:lnTo>
                  <a:pt x="5067" y="3659"/>
                </a:lnTo>
                <a:close/>
                <a:moveTo>
                  <a:pt x="5153" y="3708"/>
                </a:moveTo>
                <a:lnTo>
                  <a:pt x="5153" y="3745"/>
                </a:lnTo>
                <a:lnTo>
                  <a:pt x="5067" y="3745"/>
                </a:lnTo>
                <a:lnTo>
                  <a:pt x="5067" y="3708"/>
                </a:lnTo>
                <a:lnTo>
                  <a:pt x="5153" y="3708"/>
                </a:lnTo>
                <a:close/>
                <a:moveTo>
                  <a:pt x="5067" y="3549"/>
                </a:moveTo>
                <a:lnTo>
                  <a:pt x="5067" y="3549"/>
                </a:lnTo>
                <a:lnTo>
                  <a:pt x="5153" y="3549"/>
                </a:lnTo>
                <a:lnTo>
                  <a:pt x="5153" y="3549"/>
                </a:lnTo>
                <a:lnTo>
                  <a:pt x="5067" y="3549"/>
                </a:lnTo>
                <a:close/>
                <a:moveTo>
                  <a:pt x="5067" y="3525"/>
                </a:moveTo>
                <a:lnTo>
                  <a:pt x="5067" y="3500"/>
                </a:lnTo>
                <a:lnTo>
                  <a:pt x="5153" y="3500"/>
                </a:lnTo>
                <a:lnTo>
                  <a:pt x="5153" y="3525"/>
                </a:lnTo>
                <a:lnTo>
                  <a:pt x="5067" y="3525"/>
                </a:lnTo>
                <a:close/>
                <a:moveTo>
                  <a:pt x="5030" y="3500"/>
                </a:moveTo>
                <a:lnTo>
                  <a:pt x="5030" y="3525"/>
                </a:lnTo>
                <a:lnTo>
                  <a:pt x="4969" y="3525"/>
                </a:lnTo>
                <a:lnTo>
                  <a:pt x="4969" y="3500"/>
                </a:lnTo>
                <a:lnTo>
                  <a:pt x="5030" y="3500"/>
                </a:lnTo>
                <a:close/>
                <a:moveTo>
                  <a:pt x="5030" y="3549"/>
                </a:moveTo>
                <a:lnTo>
                  <a:pt x="5030" y="3549"/>
                </a:lnTo>
                <a:lnTo>
                  <a:pt x="4969" y="3549"/>
                </a:lnTo>
                <a:lnTo>
                  <a:pt x="4969" y="3549"/>
                </a:lnTo>
                <a:lnTo>
                  <a:pt x="5030" y="3549"/>
                </a:lnTo>
                <a:close/>
                <a:moveTo>
                  <a:pt x="5030" y="3586"/>
                </a:moveTo>
                <a:lnTo>
                  <a:pt x="5030" y="3659"/>
                </a:lnTo>
                <a:lnTo>
                  <a:pt x="4969" y="3659"/>
                </a:lnTo>
                <a:lnTo>
                  <a:pt x="4969" y="3586"/>
                </a:lnTo>
                <a:lnTo>
                  <a:pt x="5030" y="3586"/>
                </a:lnTo>
                <a:close/>
                <a:moveTo>
                  <a:pt x="5030" y="3708"/>
                </a:moveTo>
                <a:lnTo>
                  <a:pt x="5030" y="3745"/>
                </a:lnTo>
                <a:lnTo>
                  <a:pt x="4969" y="3745"/>
                </a:lnTo>
                <a:lnTo>
                  <a:pt x="4969" y="3708"/>
                </a:lnTo>
                <a:lnTo>
                  <a:pt x="5030" y="3708"/>
                </a:lnTo>
                <a:close/>
                <a:moveTo>
                  <a:pt x="5030" y="3782"/>
                </a:moveTo>
                <a:lnTo>
                  <a:pt x="5030" y="3818"/>
                </a:lnTo>
                <a:lnTo>
                  <a:pt x="4969" y="3818"/>
                </a:lnTo>
                <a:lnTo>
                  <a:pt x="4969" y="3782"/>
                </a:lnTo>
                <a:lnTo>
                  <a:pt x="5030" y="3782"/>
                </a:lnTo>
                <a:close/>
                <a:moveTo>
                  <a:pt x="5067" y="3782"/>
                </a:moveTo>
                <a:lnTo>
                  <a:pt x="5153" y="3782"/>
                </a:lnTo>
                <a:lnTo>
                  <a:pt x="5153" y="3818"/>
                </a:lnTo>
                <a:lnTo>
                  <a:pt x="5067" y="3818"/>
                </a:lnTo>
                <a:lnTo>
                  <a:pt x="5067" y="3782"/>
                </a:lnTo>
                <a:close/>
                <a:moveTo>
                  <a:pt x="4957" y="1750"/>
                </a:moveTo>
                <a:lnTo>
                  <a:pt x="5128" y="1750"/>
                </a:lnTo>
                <a:lnTo>
                  <a:pt x="5128" y="1885"/>
                </a:lnTo>
                <a:lnTo>
                  <a:pt x="4957" y="1885"/>
                </a:lnTo>
                <a:lnTo>
                  <a:pt x="4957" y="1750"/>
                </a:lnTo>
                <a:close/>
                <a:moveTo>
                  <a:pt x="4957" y="1909"/>
                </a:moveTo>
                <a:lnTo>
                  <a:pt x="5128" y="1909"/>
                </a:lnTo>
                <a:lnTo>
                  <a:pt x="5128" y="2044"/>
                </a:lnTo>
                <a:lnTo>
                  <a:pt x="4957" y="2044"/>
                </a:lnTo>
                <a:lnTo>
                  <a:pt x="4957" y="1909"/>
                </a:lnTo>
                <a:close/>
                <a:moveTo>
                  <a:pt x="4957" y="2081"/>
                </a:moveTo>
                <a:lnTo>
                  <a:pt x="5128" y="2081"/>
                </a:lnTo>
                <a:lnTo>
                  <a:pt x="5128" y="2203"/>
                </a:lnTo>
                <a:lnTo>
                  <a:pt x="4957" y="2203"/>
                </a:lnTo>
                <a:lnTo>
                  <a:pt x="4957" y="2081"/>
                </a:lnTo>
                <a:close/>
                <a:moveTo>
                  <a:pt x="4957" y="2240"/>
                </a:moveTo>
                <a:lnTo>
                  <a:pt x="5128" y="2240"/>
                </a:lnTo>
                <a:lnTo>
                  <a:pt x="5128" y="2350"/>
                </a:lnTo>
                <a:lnTo>
                  <a:pt x="4957" y="2350"/>
                </a:lnTo>
                <a:lnTo>
                  <a:pt x="4957" y="2240"/>
                </a:lnTo>
                <a:close/>
                <a:moveTo>
                  <a:pt x="4957" y="2374"/>
                </a:moveTo>
                <a:lnTo>
                  <a:pt x="5128" y="2374"/>
                </a:lnTo>
                <a:lnTo>
                  <a:pt x="5128" y="2509"/>
                </a:lnTo>
                <a:lnTo>
                  <a:pt x="4957" y="2509"/>
                </a:lnTo>
                <a:lnTo>
                  <a:pt x="4957" y="2374"/>
                </a:lnTo>
                <a:close/>
                <a:moveTo>
                  <a:pt x="4957" y="2546"/>
                </a:moveTo>
                <a:lnTo>
                  <a:pt x="5128" y="2546"/>
                </a:lnTo>
                <a:lnTo>
                  <a:pt x="5128" y="2680"/>
                </a:lnTo>
                <a:lnTo>
                  <a:pt x="4957" y="2680"/>
                </a:lnTo>
                <a:lnTo>
                  <a:pt x="4957" y="2546"/>
                </a:lnTo>
                <a:close/>
                <a:moveTo>
                  <a:pt x="4957" y="2705"/>
                </a:moveTo>
                <a:lnTo>
                  <a:pt x="5128" y="2705"/>
                </a:lnTo>
                <a:lnTo>
                  <a:pt x="5128" y="2839"/>
                </a:lnTo>
                <a:lnTo>
                  <a:pt x="4957" y="2839"/>
                </a:lnTo>
                <a:lnTo>
                  <a:pt x="4957" y="2705"/>
                </a:lnTo>
                <a:close/>
                <a:moveTo>
                  <a:pt x="4957" y="2876"/>
                </a:moveTo>
                <a:lnTo>
                  <a:pt x="5128" y="2876"/>
                </a:lnTo>
                <a:lnTo>
                  <a:pt x="5128" y="3023"/>
                </a:lnTo>
                <a:lnTo>
                  <a:pt x="5153" y="3023"/>
                </a:lnTo>
                <a:lnTo>
                  <a:pt x="5153" y="3023"/>
                </a:lnTo>
                <a:lnTo>
                  <a:pt x="4969" y="3023"/>
                </a:lnTo>
                <a:lnTo>
                  <a:pt x="4969" y="2901"/>
                </a:lnTo>
                <a:lnTo>
                  <a:pt x="4957" y="2901"/>
                </a:lnTo>
                <a:lnTo>
                  <a:pt x="4957" y="2876"/>
                </a:lnTo>
                <a:close/>
                <a:moveTo>
                  <a:pt x="4847" y="1750"/>
                </a:moveTo>
                <a:lnTo>
                  <a:pt x="4932" y="1750"/>
                </a:lnTo>
                <a:lnTo>
                  <a:pt x="4932" y="1885"/>
                </a:lnTo>
                <a:lnTo>
                  <a:pt x="4847" y="1885"/>
                </a:lnTo>
                <a:lnTo>
                  <a:pt x="4847" y="1750"/>
                </a:lnTo>
                <a:close/>
                <a:moveTo>
                  <a:pt x="4847" y="1909"/>
                </a:moveTo>
                <a:lnTo>
                  <a:pt x="4932" y="1909"/>
                </a:lnTo>
                <a:lnTo>
                  <a:pt x="4932" y="2044"/>
                </a:lnTo>
                <a:lnTo>
                  <a:pt x="4847" y="2044"/>
                </a:lnTo>
                <a:lnTo>
                  <a:pt x="4847" y="1909"/>
                </a:lnTo>
                <a:close/>
                <a:moveTo>
                  <a:pt x="4847" y="2081"/>
                </a:moveTo>
                <a:lnTo>
                  <a:pt x="4932" y="2081"/>
                </a:lnTo>
                <a:lnTo>
                  <a:pt x="4932" y="2203"/>
                </a:lnTo>
                <a:lnTo>
                  <a:pt x="4847" y="2203"/>
                </a:lnTo>
                <a:lnTo>
                  <a:pt x="4847" y="2081"/>
                </a:lnTo>
                <a:close/>
                <a:moveTo>
                  <a:pt x="4847" y="2240"/>
                </a:moveTo>
                <a:lnTo>
                  <a:pt x="4932" y="2240"/>
                </a:lnTo>
                <a:lnTo>
                  <a:pt x="4932" y="2350"/>
                </a:lnTo>
                <a:lnTo>
                  <a:pt x="4847" y="2350"/>
                </a:lnTo>
                <a:lnTo>
                  <a:pt x="4847" y="2240"/>
                </a:lnTo>
                <a:close/>
                <a:moveTo>
                  <a:pt x="4847" y="2374"/>
                </a:moveTo>
                <a:lnTo>
                  <a:pt x="4932" y="2374"/>
                </a:lnTo>
                <a:lnTo>
                  <a:pt x="4932" y="2509"/>
                </a:lnTo>
                <a:lnTo>
                  <a:pt x="4847" y="2509"/>
                </a:lnTo>
                <a:lnTo>
                  <a:pt x="4847" y="2374"/>
                </a:lnTo>
                <a:close/>
                <a:moveTo>
                  <a:pt x="4847" y="2546"/>
                </a:moveTo>
                <a:lnTo>
                  <a:pt x="4932" y="2546"/>
                </a:lnTo>
                <a:lnTo>
                  <a:pt x="4932" y="2680"/>
                </a:lnTo>
                <a:lnTo>
                  <a:pt x="4847" y="2680"/>
                </a:lnTo>
                <a:lnTo>
                  <a:pt x="4847" y="2546"/>
                </a:lnTo>
                <a:close/>
                <a:moveTo>
                  <a:pt x="4847" y="2705"/>
                </a:moveTo>
                <a:lnTo>
                  <a:pt x="4932" y="2705"/>
                </a:lnTo>
                <a:lnTo>
                  <a:pt x="4932" y="2839"/>
                </a:lnTo>
                <a:lnTo>
                  <a:pt x="4847" y="2839"/>
                </a:lnTo>
                <a:lnTo>
                  <a:pt x="4847" y="2705"/>
                </a:lnTo>
                <a:close/>
                <a:moveTo>
                  <a:pt x="4847" y="3023"/>
                </a:moveTo>
                <a:lnTo>
                  <a:pt x="4847" y="3023"/>
                </a:lnTo>
                <a:lnTo>
                  <a:pt x="4847" y="2876"/>
                </a:lnTo>
                <a:lnTo>
                  <a:pt x="4932" y="2876"/>
                </a:lnTo>
                <a:lnTo>
                  <a:pt x="4932" y="3023"/>
                </a:lnTo>
                <a:lnTo>
                  <a:pt x="4932" y="3023"/>
                </a:lnTo>
                <a:lnTo>
                  <a:pt x="4932" y="3023"/>
                </a:lnTo>
                <a:lnTo>
                  <a:pt x="4847" y="3023"/>
                </a:lnTo>
                <a:lnTo>
                  <a:pt x="4847" y="3023"/>
                </a:lnTo>
                <a:close/>
                <a:moveTo>
                  <a:pt x="4847" y="3047"/>
                </a:moveTo>
                <a:lnTo>
                  <a:pt x="4932" y="3047"/>
                </a:lnTo>
                <a:lnTo>
                  <a:pt x="4932" y="3182"/>
                </a:lnTo>
                <a:lnTo>
                  <a:pt x="4847" y="3182"/>
                </a:lnTo>
                <a:lnTo>
                  <a:pt x="4847" y="3047"/>
                </a:lnTo>
                <a:close/>
                <a:moveTo>
                  <a:pt x="4847" y="3207"/>
                </a:moveTo>
                <a:lnTo>
                  <a:pt x="4932" y="3207"/>
                </a:lnTo>
                <a:lnTo>
                  <a:pt x="4932" y="3341"/>
                </a:lnTo>
                <a:lnTo>
                  <a:pt x="4847" y="3341"/>
                </a:lnTo>
                <a:lnTo>
                  <a:pt x="4847" y="3207"/>
                </a:lnTo>
                <a:close/>
                <a:moveTo>
                  <a:pt x="4847" y="3378"/>
                </a:moveTo>
                <a:lnTo>
                  <a:pt x="4932" y="3378"/>
                </a:lnTo>
                <a:lnTo>
                  <a:pt x="4932" y="3464"/>
                </a:lnTo>
                <a:lnTo>
                  <a:pt x="4847" y="3464"/>
                </a:lnTo>
                <a:lnTo>
                  <a:pt x="4847" y="3378"/>
                </a:lnTo>
                <a:close/>
                <a:moveTo>
                  <a:pt x="4847" y="3500"/>
                </a:moveTo>
                <a:lnTo>
                  <a:pt x="4932" y="3500"/>
                </a:lnTo>
                <a:lnTo>
                  <a:pt x="4932" y="3525"/>
                </a:lnTo>
                <a:lnTo>
                  <a:pt x="4847" y="3525"/>
                </a:lnTo>
                <a:lnTo>
                  <a:pt x="4847" y="3500"/>
                </a:lnTo>
                <a:close/>
                <a:moveTo>
                  <a:pt x="4847" y="3549"/>
                </a:moveTo>
                <a:lnTo>
                  <a:pt x="4932" y="3549"/>
                </a:lnTo>
                <a:lnTo>
                  <a:pt x="4932" y="3549"/>
                </a:lnTo>
                <a:lnTo>
                  <a:pt x="4847" y="3549"/>
                </a:lnTo>
                <a:lnTo>
                  <a:pt x="4847" y="3549"/>
                </a:lnTo>
                <a:close/>
                <a:moveTo>
                  <a:pt x="4847" y="3586"/>
                </a:moveTo>
                <a:lnTo>
                  <a:pt x="4932" y="3586"/>
                </a:lnTo>
                <a:lnTo>
                  <a:pt x="4932" y="3659"/>
                </a:lnTo>
                <a:lnTo>
                  <a:pt x="4847" y="3659"/>
                </a:lnTo>
                <a:lnTo>
                  <a:pt x="4847" y="3586"/>
                </a:lnTo>
                <a:close/>
                <a:moveTo>
                  <a:pt x="4847" y="3708"/>
                </a:moveTo>
                <a:lnTo>
                  <a:pt x="4932" y="3708"/>
                </a:lnTo>
                <a:lnTo>
                  <a:pt x="4932" y="3745"/>
                </a:lnTo>
                <a:lnTo>
                  <a:pt x="4847" y="3745"/>
                </a:lnTo>
                <a:lnTo>
                  <a:pt x="4847" y="3708"/>
                </a:lnTo>
                <a:close/>
                <a:moveTo>
                  <a:pt x="4932" y="3782"/>
                </a:moveTo>
                <a:lnTo>
                  <a:pt x="4932" y="3818"/>
                </a:lnTo>
                <a:lnTo>
                  <a:pt x="4847" y="3818"/>
                </a:lnTo>
                <a:lnTo>
                  <a:pt x="4847" y="3782"/>
                </a:lnTo>
                <a:lnTo>
                  <a:pt x="4932" y="3782"/>
                </a:lnTo>
                <a:close/>
                <a:moveTo>
                  <a:pt x="4810" y="3549"/>
                </a:moveTo>
                <a:lnTo>
                  <a:pt x="4810" y="3549"/>
                </a:lnTo>
                <a:lnTo>
                  <a:pt x="4749" y="3549"/>
                </a:lnTo>
                <a:lnTo>
                  <a:pt x="4749" y="3549"/>
                </a:lnTo>
                <a:lnTo>
                  <a:pt x="4810" y="3549"/>
                </a:lnTo>
                <a:close/>
                <a:moveTo>
                  <a:pt x="4749" y="3525"/>
                </a:moveTo>
                <a:lnTo>
                  <a:pt x="4749" y="3500"/>
                </a:lnTo>
                <a:lnTo>
                  <a:pt x="4810" y="3500"/>
                </a:lnTo>
                <a:lnTo>
                  <a:pt x="4810" y="3525"/>
                </a:lnTo>
                <a:lnTo>
                  <a:pt x="4749" y="3525"/>
                </a:lnTo>
                <a:close/>
                <a:moveTo>
                  <a:pt x="4810" y="3586"/>
                </a:moveTo>
                <a:lnTo>
                  <a:pt x="4810" y="3659"/>
                </a:lnTo>
                <a:lnTo>
                  <a:pt x="4749" y="3659"/>
                </a:lnTo>
                <a:lnTo>
                  <a:pt x="4749" y="3586"/>
                </a:lnTo>
                <a:lnTo>
                  <a:pt x="4810" y="3586"/>
                </a:lnTo>
                <a:close/>
                <a:moveTo>
                  <a:pt x="4810" y="3708"/>
                </a:moveTo>
                <a:lnTo>
                  <a:pt x="4810" y="3745"/>
                </a:lnTo>
                <a:lnTo>
                  <a:pt x="4749" y="3745"/>
                </a:lnTo>
                <a:lnTo>
                  <a:pt x="4749" y="3708"/>
                </a:lnTo>
                <a:lnTo>
                  <a:pt x="4810" y="3708"/>
                </a:lnTo>
                <a:close/>
                <a:moveTo>
                  <a:pt x="4810" y="3782"/>
                </a:moveTo>
                <a:lnTo>
                  <a:pt x="4810" y="3818"/>
                </a:lnTo>
                <a:lnTo>
                  <a:pt x="4749" y="3818"/>
                </a:lnTo>
                <a:lnTo>
                  <a:pt x="4749" y="3782"/>
                </a:lnTo>
                <a:lnTo>
                  <a:pt x="4810" y="3782"/>
                </a:lnTo>
                <a:close/>
                <a:moveTo>
                  <a:pt x="4638" y="1750"/>
                </a:moveTo>
                <a:lnTo>
                  <a:pt x="4810" y="1750"/>
                </a:lnTo>
                <a:lnTo>
                  <a:pt x="4810" y="1885"/>
                </a:lnTo>
                <a:lnTo>
                  <a:pt x="4638" y="1885"/>
                </a:lnTo>
                <a:lnTo>
                  <a:pt x="4638" y="1750"/>
                </a:lnTo>
                <a:close/>
                <a:moveTo>
                  <a:pt x="4638" y="1909"/>
                </a:moveTo>
                <a:lnTo>
                  <a:pt x="4810" y="1909"/>
                </a:lnTo>
                <a:lnTo>
                  <a:pt x="4810" y="2044"/>
                </a:lnTo>
                <a:lnTo>
                  <a:pt x="4638" y="2044"/>
                </a:lnTo>
                <a:lnTo>
                  <a:pt x="4638" y="1909"/>
                </a:lnTo>
                <a:close/>
                <a:moveTo>
                  <a:pt x="4638" y="2081"/>
                </a:moveTo>
                <a:lnTo>
                  <a:pt x="4810" y="2081"/>
                </a:lnTo>
                <a:lnTo>
                  <a:pt x="4810" y="2203"/>
                </a:lnTo>
                <a:lnTo>
                  <a:pt x="4638" y="2203"/>
                </a:lnTo>
                <a:lnTo>
                  <a:pt x="4638" y="2081"/>
                </a:lnTo>
                <a:close/>
                <a:moveTo>
                  <a:pt x="4638" y="2240"/>
                </a:moveTo>
                <a:lnTo>
                  <a:pt x="4810" y="2240"/>
                </a:lnTo>
                <a:lnTo>
                  <a:pt x="4810" y="2350"/>
                </a:lnTo>
                <a:lnTo>
                  <a:pt x="4638" y="2350"/>
                </a:lnTo>
                <a:lnTo>
                  <a:pt x="4638" y="2240"/>
                </a:lnTo>
                <a:close/>
                <a:moveTo>
                  <a:pt x="4638" y="2374"/>
                </a:moveTo>
                <a:lnTo>
                  <a:pt x="4810" y="2374"/>
                </a:lnTo>
                <a:lnTo>
                  <a:pt x="4810" y="2509"/>
                </a:lnTo>
                <a:lnTo>
                  <a:pt x="4638" y="2509"/>
                </a:lnTo>
                <a:lnTo>
                  <a:pt x="4638" y="2374"/>
                </a:lnTo>
                <a:close/>
                <a:moveTo>
                  <a:pt x="4638" y="2546"/>
                </a:moveTo>
                <a:lnTo>
                  <a:pt x="4810" y="2546"/>
                </a:lnTo>
                <a:lnTo>
                  <a:pt x="4810" y="2680"/>
                </a:lnTo>
                <a:lnTo>
                  <a:pt x="4638" y="2680"/>
                </a:lnTo>
                <a:lnTo>
                  <a:pt x="4638" y="2546"/>
                </a:lnTo>
                <a:close/>
                <a:moveTo>
                  <a:pt x="4638" y="2705"/>
                </a:moveTo>
                <a:lnTo>
                  <a:pt x="4810" y="2705"/>
                </a:lnTo>
                <a:lnTo>
                  <a:pt x="4810" y="2839"/>
                </a:lnTo>
                <a:lnTo>
                  <a:pt x="4638" y="2839"/>
                </a:lnTo>
                <a:lnTo>
                  <a:pt x="4638" y="2705"/>
                </a:lnTo>
                <a:close/>
                <a:moveTo>
                  <a:pt x="4626" y="3023"/>
                </a:moveTo>
                <a:lnTo>
                  <a:pt x="4638" y="3023"/>
                </a:lnTo>
                <a:lnTo>
                  <a:pt x="4638" y="2876"/>
                </a:lnTo>
                <a:lnTo>
                  <a:pt x="4810" y="2876"/>
                </a:lnTo>
                <a:lnTo>
                  <a:pt x="4810" y="2962"/>
                </a:lnTo>
                <a:lnTo>
                  <a:pt x="4810" y="2962"/>
                </a:lnTo>
                <a:lnTo>
                  <a:pt x="4810" y="3023"/>
                </a:lnTo>
                <a:lnTo>
                  <a:pt x="4626" y="3023"/>
                </a:lnTo>
                <a:lnTo>
                  <a:pt x="4626" y="3023"/>
                </a:lnTo>
                <a:close/>
                <a:moveTo>
                  <a:pt x="4626" y="3047"/>
                </a:moveTo>
                <a:lnTo>
                  <a:pt x="4810" y="3047"/>
                </a:lnTo>
                <a:lnTo>
                  <a:pt x="4810" y="3182"/>
                </a:lnTo>
                <a:lnTo>
                  <a:pt x="4626" y="3182"/>
                </a:lnTo>
                <a:lnTo>
                  <a:pt x="4626" y="3047"/>
                </a:lnTo>
                <a:close/>
                <a:moveTo>
                  <a:pt x="4626" y="3207"/>
                </a:moveTo>
                <a:lnTo>
                  <a:pt x="4810" y="3207"/>
                </a:lnTo>
                <a:lnTo>
                  <a:pt x="4810" y="3341"/>
                </a:lnTo>
                <a:lnTo>
                  <a:pt x="4626" y="3341"/>
                </a:lnTo>
                <a:lnTo>
                  <a:pt x="4626" y="3207"/>
                </a:lnTo>
                <a:close/>
                <a:moveTo>
                  <a:pt x="4626" y="3378"/>
                </a:moveTo>
                <a:lnTo>
                  <a:pt x="4810" y="3378"/>
                </a:lnTo>
                <a:lnTo>
                  <a:pt x="4810" y="3464"/>
                </a:lnTo>
                <a:lnTo>
                  <a:pt x="4749" y="3464"/>
                </a:lnTo>
                <a:lnTo>
                  <a:pt x="4749" y="3427"/>
                </a:lnTo>
                <a:lnTo>
                  <a:pt x="4712" y="3427"/>
                </a:lnTo>
                <a:lnTo>
                  <a:pt x="4712" y="3464"/>
                </a:lnTo>
                <a:lnTo>
                  <a:pt x="4626" y="3464"/>
                </a:lnTo>
                <a:lnTo>
                  <a:pt x="4626" y="3378"/>
                </a:lnTo>
                <a:close/>
                <a:moveTo>
                  <a:pt x="4626" y="3500"/>
                </a:moveTo>
                <a:lnTo>
                  <a:pt x="4712" y="3500"/>
                </a:lnTo>
                <a:lnTo>
                  <a:pt x="4712" y="3525"/>
                </a:lnTo>
                <a:lnTo>
                  <a:pt x="4626" y="3525"/>
                </a:lnTo>
                <a:lnTo>
                  <a:pt x="4626" y="3500"/>
                </a:lnTo>
                <a:close/>
                <a:moveTo>
                  <a:pt x="4626" y="3549"/>
                </a:moveTo>
                <a:lnTo>
                  <a:pt x="4712" y="3549"/>
                </a:lnTo>
                <a:lnTo>
                  <a:pt x="4712" y="3549"/>
                </a:lnTo>
                <a:lnTo>
                  <a:pt x="4626" y="3549"/>
                </a:lnTo>
                <a:lnTo>
                  <a:pt x="4626" y="3549"/>
                </a:lnTo>
                <a:close/>
                <a:moveTo>
                  <a:pt x="4626" y="3586"/>
                </a:moveTo>
                <a:lnTo>
                  <a:pt x="4712" y="3586"/>
                </a:lnTo>
                <a:lnTo>
                  <a:pt x="4712" y="3659"/>
                </a:lnTo>
                <a:lnTo>
                  <a:pt x="4626" y="3659"/>
                </a:lnTo>
                <a:lnTo>
                  <a:pt x="4626" y="3586"/>
                </a:lnTo>
                <a:close/>
                <a:moveTo>
                  <a:pt x="4626" y="3708"/>
                </a:moveTo>
                <a:lnTo>
                  <a:pt x="4712" y="3708"/>
                </a:lnTo>
                <a:lnTo>
                  <a:pt x="4712" y="3745"/>
                </a:lnTo>
                <a:lnTo>
                  <a:pt x="4626" y="3745"/>
                </a:lnTo>
                <a:lnTo>
                  <a:pt x="4626" y="3708"/>
                </a:lnTo>
                <a:close/>
                <a:moveTo>
                  <a:pt x="4712" y="3782"/>
                </a:moveTo>
                <a:lnTo>
                  <a:pt x="4712" y="3818"/>
                </a:lnTo>
                <a:lnTo>
                  <a:pt x="4626" y="3818"/>
                </a:lnTo>
                <a:lnTo>
                  <a:pt x="4626" y="3782"/>
                </a:lnTo>
                <a:lnTo>
                  <a:pt x="4712" y="3782"/>
                </a:lnTo>
                <a:close/>
                <a:moveTo>
                  <a:pt x="4590" y="3586"/>
                </a:moveTo>
                <a:lnTo>
                  <a:pt x="4590" y="3659"/>
                </a:lnTo>
                <a:lnTo>
                  <a:pt x="4565" y="3659"/>
                </a:lnTo>
                <a:lnTo>
                  <a:pt x="4565" y="3586"/>
                </a:lnTo>
                <a:lnTo>
                  <a:pt x="4590" y="3586"/>
                </a:lnTo>
                <a:close/>
                <a:moveTo>
                  <a:pt x="4565" y="3549"/>
                </a:moveTo>
                <a:lnTo>
                  <a:pt x="4565" y="3549"/>
                </a:lnTo>
                <a:lnTo>
                  <a:pt x="4590" y="3549"/>
                </a:lnTo>
                <a:lnTo>
                  <a:pt x="4590" y="3549"/>
                </a:lnTo>
                <a:lnTo>
                  <a:pt x="4565" y="3549"/>
                </a:lnTo>
                <a:close/>
                <a:moveTo>
                  <a:pt x="4590" y="3708"/>
                </a:moveTo>
                <a:lnTo>
                  <a:pt x="4590" y="3745"/>
                </a:lnTo>
                <a:lnTo>
                  <a:pt x="4565" y="3745"/>
                </a:lnTo>
                <a:lnTo>
                  <a:pt x="4565" y="3708"/>
                </a:lnTo>
                <a:lnTo>
                  <a:pt x="4590" y="3708"/>
                </a:lnTo>
                <a:close/>
                <a:moveTo>
                  <a:pt x="4590" y="3782"/>
                </a:moveTo>
                <a:lnTo>
                  <a:pt x="4590" y="3818"/>
                </a:lnTo>
                <a:lnTo>
                  <a:pt x="4565" y="3818"/>
                </a:lnTo>
                <a:lnTo>
                  <a:pt x="4565" y="3782"/>
                </a:lnTo>
                <a:lnTo>
                  <a:pt x="4590" y="3782"/>
                </a:lnTo>
                <a:close/>
                <a:moveTo>
                  <a:pt x="4528" y="1750"/>
                </a:moveTo>
                <a:lnTo>
                  <a:pt x="4614" y="1750"/>
                </a:lnTo>
                <a:lnTo>
                  <a:pt x="4614" y="1885"/>
                </a:lnTo>
                <a:lnTo>
                  <a:pt x="4528" y="1885"/>
                </a:lnTo>
                <a:lnTo>
                  <a:pt x="4528" y="1750"/>
                </a:lnTo>
                <a:close/>
                <a:moveTo>
                  <a:pt x="4528" y="1909"/>
                </a:moveTo>
                <a:lnTo>
                  <a:pt x="4614" y="1909"/>
                </a:lnTo>
                <a:lnTo>
                  <a:pt x="4614" y="2044"/>
                </a:lnTo>
                <a:lnTo>
                  <a:pt x="4528" y="2044"/>
                </a:lnTo>
                <a:lnTo>
                  <a:pt x="4528" y="1909"/>
                </a:lnTo>
                <a:close/>
                <a:moveTo>
                  <a:pt x="4528" y="2081"/>
                </a:moveTo>
                <a:lnTo>
                  <a:pt x="4614" y="2081"/>
                </a:lnTo>
                <a:lnTo>
                  <a:pt x="4614" y="2203"/>
                </a:lnTo>
                <a:lnTo>
                  <a:pt x="4528" y="2203"/>
                </a:lnTo>
                <a:lnTo>
                  <a:pt x="4528" y="2081"/>
                </a:lnTo>
                <a:close/>
                <a:moveTo>
                  <a:pt x="4528" y="2240"/>
                </a:moveTo>
                <a:lnTo>
                  <a:pt x="4614" y="2240"/>
                </a:lnTo>
                <a:lnTo>
                  <a:pt x="4614" y="2350"/>
                </a:lnTo>
                <a:lnTo>
                  <a:pt x="4528" y="2350"/>
                </a:lnTo>
                <a:lnTo>
                  <a:pt x="4528" y="2240"/>
                </a:lnTo>
                <a:close/>
                <a:moveTo>
                  <a:pt x="4528" y="2374"/>
                </a:moveTo>
                <a:lnTo>
                  <a:pt x="4614" y="2374"/>
                </a:lnTo>
                <a:lnTo>
                  <a:pt x="4614" y="2509"/>
                </a:lnTo>
                <a:lnTo>
                  <a:pt x="4528" y="2509"/>
                </a:lnTo>
                <a:lnTo>
                  <a:pt x="4528" y="2374"/>
                </a:lnTo>
                <a:close/>
                <a:moveTo>
                  <a:pt x="4528" y="2546"/>
                </a:moveTo>
                <a:lnTo>
                  <a:pt x="4614" y="2546"/>
                </a:lnTo>
                <a:lnTo>
                  <a:pt x="4614" y="2680"/>
                </a:lnTo>
                <a:lnTo>
                  <a:pt x="4528" y="2680"/>
                </a:lnTo>
                <a:lnTo>
                  <a:pt x="4528" y="2546"/>
                </a:lnTo>
                <a:close/>
                <a:moveTo>
                  <a:pt x="4528" y="2839"/>
                </a:moveTo>
                <a:lnTo>
                  <a:pt x="4528" y="2705"/>
                </a:lnTo>
                <a:lnTo>
                  <a:pt x="4614" y="2705"/>
                </a:lnTo>
                <a:lnTo>
                  <a:pt x="4614" y="2839"/>
                </a:lnTo>
                <a:lnTo>
                  <a:pt x="4528" y="2839"/>
                </a:lnTo>
                <a:close/>
                <a:moveTo>
                  <a:pt x="4504" y="3207"/>
                </a:moveTo>
                <a:lnTo>
                  <a:pt x="4590" y="3207"/>
                </a:lnTo>
                <a:lnTo>
                  <a:pt x="4590" y="3341"/>
                </a:lnTo>
                <a:lnTo>
                  <a:pt x="4504" y="3341"/>
                </a:lnTo>
                <a:lnTo>
                  <a:pt x="4504" y="3207"/>
                </a:lnTo>
                <a:close/>
                <a:moveTo>
                  <a:pt x="4504" y="3378"/>
                </a:moveTo>
                <a:lnTo>
                  <a:pt x="4590" y="3378"/>
                </a:lnTo>
                <a:lnTo>
                  <a:pt x="4590" y="3464"/>
                </a:lnTo>
                <a:lnTo>
                  <a:pt x="4504" y="3464"/>
                </a:lnTo>
                <a:lnTo>
                  <a:pt x="4504" y="3378"/>
                </a:lnTo>
                <a:close/>
                <a:moveTo>
                  <a:pt x="4504" y="3500"/>
                </a:moveTo>
                <a:lnTo>
                  <a:pt x="4590" y="3500"/>
                </a:lnTo>
                <a:lnTo>
                  <a:pt x="4590" y="3525"/>
                </a:lnTo>
                <a:lnTo>
                  <a:pt x="4565" y="3525"/>
                </a:lnTo>
                <a:lnTo>
                  <a:pt x="4565" y="3500"/>
                </a:lnTo>
                <a:lnTo>
                  <a:pt x="4541" y="3500"/>
                </a:lnTo>
                <a:lnTo>
                  <a:pt x="4541" y="3525"/>
                </a:lnTo>
                <a:lnTo>
                  <a:pt x="4504" y="3525"/>
                </a:lnTo>
                <a:lnTo>
                  <a:pt x="4504" y="3500"/>
                </a:lnTo>
                <a:close/>
                <a:moveTo>
                  <a:pt x="4504" y="3549"/>
                </a:moveTo>
                <a:lnTo>
                  <a:pt x="4541" y="3549"/>
                </a:lnTo>
                <a:lnTo>
                  <a:pt x="4541" y="3549"/>
                </a:lnTo>
                <a:lnTo>
                  <a:pt x="4504" y="3549"/>
                </a:lnTo>
                <a:lnTo>
                  <a:pt x="4504" y="3549"/>
                </a:lnTo>
                <a:close/>
                <a:moveTo>
                  <a:pt x="4504" y="3586"/>
                </a:moveTo>
                <a:lnTo>
                  <a:pt x="4541" y="3586"/>
                </a:lnTo>
                <a:lnTo>
                  <a:pt x="4541" y="3659"/>
                </a:lnTo>
                <a:lnTo>
                  <a:pt x="4504" y="3659"/>
                </a:lnTo>
                <a:lnTo>
                  <a:pt x="4504" y="3586"/>
                </a:lnTo>
                <a:close/>
                <a:moveTo>
                  <a:pt x="4504" y="3708"/>
                </a:moveTo>
                <a:lnTo>
                  <a:pt x="4541" y="3708"/>
                </a:lnTo>
                <a:lnTo>
                  <a:pt x="4541" y="3745"/>
                </a:lnTo>
                <a:lnTo>
                  <a:pt x="4504" y="3745"/>
                </a:lnTo>
                <a:lnTo>
                  <a:pt x="4504" y="3708"/>
                </a:lnTo>
                <a:close/>
                <a:moveTo>
                  <a:pt x="4504" y="3782"/>
                </a:moveTo>
                <a:lnTo>
                  <a:pt x="4541" y="3782"/>
                </a:lnTo>
                <a:lnTo>
                  <a:pt x="4541" y="3818"/>
                </a:lnTo>
                <a:lnTo>
                  <a:pt x="4504" y="3818"/>
                </a:lnTo>
                <a:lnTo>
                  <a:pt x="4504" y="3782"/>
                </a:lnTo>
                <a:close/>
                <a:moveTo>
                  <a:pt x="3990" y="3366"/>
                </a:moveTo>
                <a:lnTo>
                  <a:pt x="4100" y="3255"/>
                </a:lnTo>
                <a:lnTo>
                  <a:pt x="4210" y="3366"/>
                </a:lnTo>
                <a:lnTo>
                  <a:pt x="3990" y="3366"/>
                </a:lnTo>
                <a:close/>
                <a:moveTo>
                  <a:pt x="4210" y="3439"/>
                </a:moveTo>
                <a:lnTo>
                  <a:pt x="4100" y="3537"/>
                </a:lnTo>
                <a:lnTo>
                  <a:pt x="4002" y="3439"/>
                </a:lnTo>
                <a:lnTo>
                  <a:pt x="4210" y="3439"/>
                </a:lnTo>
                <a:close/>
                <a:moveTo>
                  <a:pt x="4002" y="3072"/>
                </a:moveTo>
                <a:lnTo>
                  <a:pt x="4210" y="3072"/>
                </a:lnTo>
                <a:lnTo>
                  <a:pt x="4100" y="3182"/>
                </a:lnTo>
                <a:lnTo>
                  <a:pt x="4002" y="3072"/>
                </a:lnTo>
                <a:close/>
                <a:moveTo>
                  <a:pt x="4137" y="3219"/>
                </a:moveTo>
                <a:lnTo>
                  <a:pt x="4247" y="3109"/>
                </a:lnTo>
                <a:lnTo>
                  <a:pt x="4247" y="3329"/>
                </a:lnTo>
                <a:lnTo>
                  <a:pt x="4137" y="3219"/>
                </a:lnTo>
                <a:close/>
                <a:moveTo>
                  <a:pt x="4210" y="2998"/>
                </a:moveTo>
                <a:lnTo>
                  <a:pt x="3990" y="2998"/>
                </a:lnTo>
                <a:lnTo>
                  <a:pt x="4100" y="2888"/>
                </a:lnTo>
                <a:lnTo>
                  <a:pt x="4210" y="2998"/>
                </a:lnTo>
                <a:close/>
                <a:moveTo>
                  <a:pt x="4137" y="2852"/>
                </a:moveTo>
                <a:lnTo>
                  <a:pt x="4247" y="2741"/>
                </a:lnTo>
                <a:lnTo>
                  <a:pt x="4247" y="2962"/>
                </a:lnTo>
                <a:lnTo>
                  <a:pt x="4137" y="2852"/>
                </a:lnTo>
                <a:close/>
                <a:moveTo>
                  <a:pt x="3941" y="2974"/>
                </a:moveTo>
                <a:lnTo>
                  <a:pt x="3941" y="2729"/>
                </a:lnTo>
                <a:lnTo>
                  <a:pt x="4063" y="2852"/>
                </a:lnTo>
                <a:lnTo>
                  <a:pt x="3941" y="2974"/>
                </a:lnTo>
                <a:close/>
                <a:moveTo>
                  <a:pt x="4063" y="3219"/>
                </a:moveTo>
                <a:lnTo>
                  <a:pt x="3941" y="3329"/>
                </a:lnTo>
                <a:lnTo>
                  <a:pt x="3941" y="3096"/>
                </a:lnTo>
                <a:lnTo>
                  <a:pt x="4063" y="3219"/>
                </a:lnTo>
                <a:close/>
                <a:moveTo>
                  <a:pt x="4063" y="3574"/>
                </a:moveTo>
                <a:lnTo>
                  <a:pt x="3941" y="3696"/>
                </a:lnTo>
                <a:lnTo>
                  <a:pt x="3941" y="3464"/>
                </a:lnTo>
                <a:lnTo>
                  <a:pt x="4063" y="3574"/>
                </a:lnTo>
                <a:close/>
                <a:moveTo>
                  <a:pt x="4100" y="3610"/>
                </a:moveTo>
                <a:lnTo>
                  <a:pt x="4210" y="3721"/>
                </a:lnTo>
                <a:lnTo>
                  <a:pt x="3990" y="3721"/>
                </a:lnTo>
                <a:lnTo>
                  <a:pt x="4100" y="3610"/>
                </a:lnTo>
                <a:close/>
                <a:moveTo>
                  <a:pt x="4137" y="3574"/>
                </a:moveTo>
                <a:lnTo>
                  <a:pt x="4247" y="3464"/>
                </a:lnTo>
                <a:lnTo>
                  <a:pt x="4247" y="3696"/>
                </a:lnTo>
                <a:lnTo>
                  <a:pt x="4137" y="3574"/>
                </a:lnTo>
                <a:close/>
                <a:moveTo>
                  <a:pt x="4137" y="1297"/>
                </a:moveTo>
                <a:lnTo>
                  <a:pt x="4271" y="1297"/>
                </a:lnTo>
                <a:lnTo>
                  <a:pt x="4271" y="1358"/>
                </a:lnTo>
                <a:lnTo>
                  <a:pt x="4137" y="1358"/>
                </a:lnTo>
                <a:lnTo>
                  <a:pt x="4137" y="1297"/>
                </a:lnTo>
                <a:close/>
                <a:moveTo>
                  <a:pt x="4137" y="1395"/>
                </a:moveTo>
                <a:lnTo>
                  <a:pt x="4271" y="1395"/>
                </a:lnTo>
                <a:lnTo>
                  <a:pt x="4271" y="1456"/>
                </a:lnTo>
                <a:lnTo>
                  <a:pt x="4137" y="1456"/>
                </a:lnTo>
                <a:lnTo>
                  <a:pt x="4137" y="1395"/>
                </a:lnTo>
                <a:close/>
                <a:moveTo>
                  <a:pt x="4137" y="1481"/>
                </a:moveTo>
                <a:lnTo>
                  <a:pt x="4271" y="1481"/>
                </a:lnTo>
                <a:lnTo>
                  <a:pt x="4271" y="1554"/>
                </a:lnTo>
                <a:lnTo>
                  <a:pt x="4137" y="1554"/>
                </a:lnTo>
                <a:lnTo>
                  <a:pt x="4137" y="1481"/>
                </a:lnTo>
                <a:close/>
                <a:moveTo>
                  <a:pt x="4137" y="1579"/>
                </a:moveTo>
                <a:lnTo>
                  <a:pt x="4271" y="1579"/>
                </a:lnTo>
                <a:lnTo>
                  <a:pt x="4271" y="1640"/>
                </a:lnTo>
                <a:lnTo>
                  <a:pt x="4137" y="1640"/>
                </a:lnTo>
                <a:lnTo>
                  <a:pt x="4137" y="1579"/>
                </a:lnTo>
                <a:close/>
                <a:moveTo>
                  <a:pt x="4137" y="1677"/>
                </a:moveTo>
                <a:lnTo>
                  <a:pt x="4271" y="1677"/>
                </a:lnTo>
                <a:lnTo>
                  <a:pt x="4271" y="1738"/>
                </a:lnTo>
                <a:lnTo>
                  <a:pt x="4137" y="1738"/>
                </a:lnTo>
                <a:lnTo>
                  <a:pt x="4137" y="1677"/>
                </a:lnTo>
                <a:close/>
                <a:moveTo>
                  <a:pt x="4137" y="1775"/>
                </a:moveTo>
                <a:lnTo>
                  <a:pt x="4271" y="1775"/>
                </a:lnTo>
                <a:lnTo>
                  <a:pt x="4271" y="1836"/>
                </a:lnTo>
                <a:lnTo>
                  <a:pt x="4137" y="1836"/>
                </a:lnTo>
                <a:lnTo>
                  <a:pt x="4137" y="1775"/>
                </a:lnTo>
                <a:close/>
                <a:moveTo>
                  <a:pt x="4137" y="1872"/>
                </a:moveTo>
                <a:lnTo>
                  <a:pt x="4271" y="1872"/>
                </a:lnTo>
                <a:lnTo>
                  <a:pt x="4271" y="1934"/>
                </a:lnTo>
                <a:lnTo>
                  <a:pt x="4137" y="1934"/>
                </a:lnTo>
                <a:lnTo>
                  <a:pt x="4137" y="1872"/>
                </a:lnTo>
                <a:close/>
                <a:moveTo>
                  <a:pt x="4137" y="1970"/>
                </a:moveTo>
                <a:lnTo>
                  <a:pt x="4271" y="1970"/>
                </a:lnTo>
                <a:lnTo>
                  <a:pt x="4271" y="2032"/>
                </a:lnTo>
                <a:lnTo>
                  <a:pt x="4137" y="2032"/>
                </a:lnTo>
                <a:lnTo>
                  <a:pt x="4137" y="1970"/>
                </a:lnTo>
                <a:close/>
                <a:moveTo>
                  <a:pt x="4137" y="2056"/>
                </a:moveTo>
                <a:lnTo>
                  <a:pt x="4271" y="2056"/>
                </a:lnTo>
                <a:lnTo>
                  <a:pt x="4271" y="2117"/>
                </a:lnTo>
                <a:lnTo>
                  <a:pt x="4137" y="2117"/>
                </a:lnTo>
                <a:lnTo>
                  <a:pt x="4137" y="2056"/>
                </a:lnTo>
                <a:close/>
                <a:moveTo>
                  <a:pt x="4137" y="2154"/>
                </a:moveTo>
                <a:lnTo>
                  <a:pt x="4271" y="2154"/>
                </a:lnTo>
                <a:lnTo>
                  <a:pt x="4271" y="2215"/>
                </a:lnTo>
                <a:lnTo>
                  <a:pt x="4137" y="2215"/>
                </a:lnTo>
                <a:lnTo>
                  <a:pt x="4137" y="2154"/>
                </a:lnTo>
                <a:close/>
                <a:moveTo>
                  <a:pt x="4210" y="2717"/>
                </a:moveTo>
                <a:lnTo>
                  <a:pt x="4100" y="2815"/>
                </a:lnTo>
                <a:lnTo>
                  <a:pt x="4002" y="2717"/>
                </a:lnTo>
                <a:lnTo>
                  <a:pt x="4210" y="2717"/>
                </a:lnTo>
                <a:close/>
                <a:moveTo>
                  <a:pt x="3904" y="1297"/>
                </a:moveTo>
                <a:lnTo>
                  <a:pt x="4039" y="1297"/>
                </a:lnTo>
                <a:lnTo>
                  <a:pt x="4039" y="1358"/>
                </a:lnTo>
                <a:lnTo>
                  <a:pt x="3904" y="1358"/>
                </a:lnTo>
                <a:lnTo>
                  <a:pt x="3904" y="1297"/>
                </a:lnTo>
                <a:close/>
                <a:moveTo>
                  <a:pt x="3904" y="1395"/>
                </a:moveTo>
                <a:lnTo>
                  <a:pt x="4039" y="1395"/>
                </a:lnTo>
                <a:lnTo>
                  <a:pt x="4039" y="1456"/>
                </a:lnTo>
                <a:lnTo>
                  <a:pt x="3904" y="1456"/>
                </a:lnTo>
                <a:lnTo>
                  <a:pt x="3904" y="1395"/>
                </a:lnTo>
                <a:close/>
                <a:moveTo>
                  <a:pt x="3904" y="1481"/>
                </a:moveTo>
                <a:lnTo>
                  <a:pt x="4039" y="1481"/>
                </a:lnTo>
                <a:lnTo>
                  <a:pt x="4039" y="1554"/>
                </a:lnTo>
                <a:lnTo>
                  <a:pt x="3904" y="1554"/>
                </a:lnTo>
                <a:lnTo>
                  <a:pt x="3904" y="1481"/>
                </a:lnTo>
                <a:close/>
                <a:moveTo>
                  <a:pt x="3904" y="1579"/>
                </a:moveTo>
                <a:lnTo>
                  <a:pt x="4039" y="1579"/>
                </a:lnTo>
                <a:lnTo>
                  <a:pt x="4039" y="1640"/>
                </a:lnTo>
                <a:lnTo>
                  <a:pt x="3904" y="1640"/>
                </a:lnTo>
                <a:lnTo>
                  <a:pt x="3904" y="1579"/>
                </a:lnTo>
                <a:close/>
                <a:moveTo>
                  <a:pt x="3904" y="1677"/>
                </a:moveTo>
                <a:lnTo>
                  <a:pt x="4039" y="1677"/>
                </a:lnTo>
                <a:lnTo>
                  <a:pt x="4039" y="1738"/>
                </a:lnTo>
                <a:lnTo>
                  <a:pt x="3904" y="1738"/>
                </a:lnTo>
                <a:lnTo>
                  <a:pt x="3904" y="1677"/>
                </a:lnTo>
                <a:close/>
                <a:moveTo>
                  <a:pt x="3904" y="1775"/>
                </a:moveTo>
                <a:lnTo>
                  <a:pt x="4039" y="1775"/>
                </a:lnTo>
                <a:lnTo>
                  <a:pt x="4039" y="1836"/>
                </a:lnTo>
                <a:lnTo>
                  <a:pt x="3904" y="1836"/>
                </a:lnTo>
                <a:lnTo>
                  <a:pt x="3904" y="1775"/>
                </a:lnTo>
                <a:close/>
                <a:moveTo>
                  <a:pt x="3904" y="1872"/>
                </a:moveTo>
                <a:lnTo>
                  <a:pt x="4039" y="1872"/>
                </a:lnTo>
                <a:lnTo>
                  <a:pt x="4039" y="1934"/>
                </a:lnTo>
                <a:lnTo>
                  <a:pt x="3904" y="1934"/>
                </a:lnTo>
                <a:lnTo>
                  <a:pt x="3904" y="1872"/>
                </a:lnTo>
                <a:close/>
                <a:moveTo>
                  <a:pt x="3904" y="1970"/>
                </a:moveTo>
                <a:lnTo>
                  <a:pt x="4039" y="1970"/>
                </a:lnTo>
                <a:lnTo>
                  <a:pt x="4039" y="2032"/>
                </a:lnTo>
                <a:lnTo>
                  <a:pt x="3904" y="2032"/>
                </a:lnTo>
                <a:lnTo>
                  <a:pt x="3904" y="1970"/>
                </a:lnTo>
                <a:close/>
                <a:moveTo>
                  <a:pt x="3904" y="2056"/>
                </a:moveTo>
                <a:lnTo>
                  <a:pt x="4039" y="2056"/>
                </a:lnTo>
                <a:lnTo>
                  <a:pt x="4039" y="2117"/>
                </a:lnTo>
                <a:lnTo>
                  <a:pt x="3904" y="2117"/>
                </a:lnTo>
                <a:lnTo>
                  <a:pt x="3904" y="2056"/>
                </a:lnTo>
                <a:close/>
                <a:moveTo>
                  <a:pt x="3904" y="2154"/>
                </a:moveTo>
                <a:lnTo>
                  <a:pt x="4039" y="2154"/>
                </a:lnTo>
                <a:lnTo>
                  <a:pt x="4039" y="2215"/>
                </a:lnTo>
                <a:lnTo>
                  <a:pt x="3904" y="2215"/>
                </a:lnTo>
                <a:lnTo>
                  <a:pt x="3904" y="2154"/>
                </a:lnTo>
                <a:close/>
                <a:moveTo>
                  <a:pt x="3941" y="3806"/>
                </a:moveTo>
                <a:lnTo>
                  <a:pt x="4247" y="3806"/>
                </a:lnTo>
                <a:lnTo>
                  <a:pt x="4247" y="3818"/>
                </a:lnTo>
                <a:lnTo>
                  <a:pt x="3941" y="3818"/>
                </a:lnTo>
                <a:lnTo>
                  <a:pt x="3941" y="3806"/>
                </a:lnTo>
                <a:close/>
                <a:moveTo>
                  <a:pt x="1958" y="3329"/>
                </a:moveTo>
                <a:lnTo>
                  <a:pt x="1885" y="3415"/>
                </a:lnTo>
                <a:lnTo>
                  <a:pt x="1799" y="3329"/>
                </a:lnTo>
                <a:lnTo>
                  <a:pt x="1958" y="3329"/>
                </a:lnTo>
                <a:close/>
                <a:moveTo>
                  <a:pt x="1799" y="3280"/>
                </a:moveTo>
                <a:lnTo>
                  <a:pt x="1885" y="3194"/>
                </a:lnTo>
                <a:lnTo>
                  <a:pt x="1970" y="3280"/>
                </a:lnTo>
                <a:lnTo>
                  <a:pt x="1799" y="3280"/>
                </a:lnTo>
                <a:close/>
                <a:moveTo>
                  <a:pt x="1995" y="3353"/>
                </a:moveTo>
                <a:lnTo>
                  <a:pt x="1995" y="3525"/>
                </a:lnTo>
                <a:lnTo>
                  <a:pt x="1909" y="3439"/>
                </a:lnTo>
                <a:lnTo>
                  <a:pt x="1995" y="3353"/>
                </a:lnTo>
                <a:close/>
                <a:moveTo>
                  <a:pt x="1970" y="3549"/>
                </a:moveTo>
                <a:lnTo>
                  <a:pt x="1799" y="3549"/>
                </a:lnTo>
                <a:lnTo>
                  <a:pt x="1885" y="3464"/>
                </a:lnTo>
                <a:lnTo>
                  <a:pt x="1970" y="3549"/>
                </a:lnTo>
                <a:close/>
                <a:moveTo>
                  <a:pt x="1958" y="3610"/>
                </a:moveTo>
                <a:lnTo>
                  <a:pt x="1885" y="3684"/>
                </a:lnTo>
                <a:lnTo>
                  <a:pt x="1799" y="3610"/>
                </a:lnTo>
                <a:lnTo>
                  <a:pt x="1958" y="3610"/>
                </a:lnTo>
                <a:close/>
                <a:moveTo>
                  <a:pt x="1995" y="3635"/>
                </a:moveTo>
                <a:lnTo>
                  <a:pt x="1995" y="3806"/>
                </a:lnTo>
                <a:lnTo>
                  <a:pt x="1909" y="3721"/>
                </a:lnTo>
                <a:lnTo>
                  <a:pt x="1995" y="3635"/>
                </a:lnTo>
                <a:close/>
                <a:moveTo>
                  <a:pt x="1995" y="3243"/>
                </a:moveTo>
                <a:lnTo>
                  <a:pt x="1909" y="3158"/>
                </a:lnTo>
                <a:lnTo>
                  <a:pt x="1995" y="3072"/>
                </a:lnTo>
                <a:lnTo>
                  <a:pt x="1995" y="3243"/>
                </a:lnTo>
                <a:close/>
                <a:moveTo>
                  <a:pt x="1958" y="3060"/>
                </a:moveTo>
                <a:lnTo>
                  <a:pt x="1885" y="3133"/>
                </a:lnTo>
                <a:lnTo>
                  <a:pt x="1799" y="3060"/>
                </a:lnTo>
                <a:lnTo>
                  <a:pt x="1958" y="3060"/>
                </a:lnTo>
                <a:close/>
                <a:moveTo>
                  <a:pt x="1762" y="3072"/>
                </a:moveTo>
                <a:lnTo>
                  <a:pt x="1848" y="3158"/>
                </a:lnTo>
                <a:lnTo>
                  <a:pt x="1762" y="3255"/>
                </a:lnTo>
                <a:lnTo>
                  <a:pt x="1762" y="3072"/>
                </a:lnTo>
                <a:close/>
                <a:moveTo>
                  <a:pt x="1762" y="3353"/>
                </a:moveTo>
                <a:lnTo>
                  <a:pt x="1848" y="3439"/>
                </a:lnTo>
                <a:lnTo>
                  <a:pt x="1762" y="3525"/>
                </a:lnTo>
                <a:lnTo>
                  <a:pt x="1762" y="3353"/>
                </a:lnTo>
                <a:close/>
                <a:moveTo>
                  <a:pt x="1762" y="3623"/>
                </a:moveTo>
                <a:lnTo>
                  <a:pt x="1848" y="3721"/>
                </a:lnTo>
                <a:lnTo>
                  <a:pt x="1762" y="3806"/>
                </a:lnTo>
                <a:lnTo>
                  <a:pt x="1762" y="3623"/>
                </a:lnTo>
                <a:close/>
                <a:moveTo>
                  <a:pt x="1885" y="3745"/>
                </a:moveTo>
                <a:lnTo>
                  <a:pt x="1958" y="3818"/>
                </a:lnTo>
                <a:lnTo>
                  <a:pt x="1799" y="3818"/>
                </a:lnTo>
                <a:lnTo>
                  <a:pt x="1885" y="3745"/>
                </a:lnTo>
                <a:close/>
                <a:moveTo>
                  <a:pt x="1456" y="2644"/>
                </a:moveTo>
                <a:lnTo>
                  <a:pt x="1542" y="2644"/>
                </a:lnTo>
                <a:lnTo>
                  <a:pt x="1542" y="2778"/>
                </a:lnTo>
                <a:lnTo>
                  <a:pt x="1456" y="2778"/>
                </a:lnTo>
                <a:lnTo>
                  <a:pt x="1456" y="2644"/>
                </a:lnTo>
                <a:close/>
                <a:moveTo>
                  <a:pt x="1456" y="2815"/>
                </a:moveTo>
                <a:lnTo>
                  <a:pt x="1542" y="2815"/>
                </a:lnTo>
                <a:lnTo>
                  <a:pt x="1542" y="2949"/>
                </a:lnTo>
                <a:lnTo>
                  <a:pt x="1456" y="2949"/>
                </a:lnTo>
                <a:lnTo>
                  <a:pt x="1456" y="2815"/>
                </a:lnTo>
                <a:close/>
                <a:moveTo>
                  <a:pt x="1456" y="2974"/>
                </a:moveTo>
                <a:lnTo>
                  <a:pt x="1542" y="2974"/>
                </a:lnTo>
                <a:lnTo>
                  <a:pt x="1542" y="3109"/>
                </a:lnTo>
                <a:lnTo>
                  <a:pt x="1456" y="3109"/>
                </a:lnTo>
                <a:lnTo>
                  <a:pt x="1456" y="2974"/>
                </a:lnTo>
                <a:close/>
                <a:moveTo>
                  <a:pt x="1456" y="3145"/>
                </a:moveTo>
                <a:lnTo>
                  <a:pt x="1542" y="3145"/>
                </a:lnTo>
                <a:lnTo>
                  <a:pt x="1542" y="3243"/>
                </a:lnTo>
                <a:lnTo>
                  <a:pt x="1456" y="3243"/>
                </a:lnTo>
                <a:lnTo>
                  <a:pt x="1456" y="3145"/>
                </a:lnTo>
                <a:close/>
                <a:moveTo>
                  <a:pt x="1456" y="3280"/>
                </a:moveTo>
                <a:lnTo>
                  <a:pt x="1542" y="3280"/>
                </a:lnTo>
                <a:lnTo>
                  <a:pt x="1542" y="3415"/>
                </a:lnTo>
                <a:lnTo>
                  <a:pt x="1456" y="3415"/>
                </a:lnTo>
                <a:lnTo>
                  <a:pt x="1456" y="3280"/>
                </a:lnTo>
                <a:close/>
                <a:moveTo>
                  <a:pt x="1456" y="3439"/>
                </a:moveTo>
                <a:lnTo>
                  <a:pt x="1542" y="3439"/>
                </a:lnTo>
                <a:lnTo>
                  <a:pt x="1542" y="3574"/>
                </a:lnTo>
                <a:lnTo>
                  <a:pt x="1456" y="3574"/>
                </a:lnTo>
                <a:lnTo>
                  <a:pt x="1456" y="3439"/>
                </a:lnTo>
                <a:close/>
                <a:moveTo>
                  <a:pt x="1456" y="3610"/>
                </a:moveTo>
                <a:lnTo>
                  <a:pt x="1542" y="3610"/>
                </a:lnTo>
                <a:lnTo>
                  <a:pt x="1542" y="3745"/>
                </a:lnTo>
                <a:lnTo>
                  <a:pt x="1456" y="3745"/>
                </a:lnTo>
                <a:lnTo>
                  <a:pt x="1456" y="3610"/>
                </a:lnTo>
                <a:close/>
                <a:moveTo>
                  <a:pt x="1456" y="3769"/>
                </a:moveTo>
                <a:lnTo>
                  <a:pt x="1542" y="3769"/>
                </a:lnTo>
                <a:lnTo>
                  <a:pt x="1542" y="3818"/>
                </a:lnTo>
                <a:lnTo>
                  <a:pt x="1456" y="3818"/>
                </a:lnTo>
                <a:lnTo>
                  <a:pt x="1456" y="3769"/>
                </a:lnTo>
                <a:close/>
                <a:moveTo>
                  <a:pt x="942" y="2864"/>
                </a:moveTo>
                <a:lnTo>
                  <a:pt x="869" y="2790"/>
                </a:lnTo>
                <a:lnTo>
                  <a:pt x="1028" y="2790"/>
                </a:lnTo>
                <a:lnTo>
                  <a:pt x="942" y="2864"/>
                </a:lnTo>
                <a:close/>
                <a:moveTo>
                  <a:pt x="1052" y="2803"/>
                </a:moveTo>
                <a:lnTo>
                  <a:pt x="1052" y="2974"/>
                </a:lnTo>
                <a:lnTo>
                  <a:pt x="967" y="2888"/>
                </a:lnTo>
                <a:lnTo>
                  <a:pt x="1052" y="2803"/>
                </a:lnTo>
                <a:close/>
                <a:moveTo>
                  <a:pt x="1016" y="2986"/>
                </a:moveTo>
                <a:lnTo>
                  <a:pt x="869" y="2986"/>
                </a:lnTo>
                <a:lnTo>
                  <a:pt x="942" y="2913"/>
                </a:lnTo>
                <a:lnTo>
                  <a:pt x="1016" y="2986"/>
                </a:lnTo>
                <a:close/>
                <a:moveTo>
                  <a:pt x="1028" y="3047"/>
                </a:moveTo>
                <a:lnTo>
                  <a:pt x="942" y="3121"/>
                </a:lnTo>
                <a:lnTo>
                  <a:pt x="869" y="3047"/>
                </a:lnTo>
                <a:lnTo>
                  <a:pt x="1028" y="3047"/>
                </a:lnTo>
                <a:close/>
                <a:moveTo>
                  <a:pt x="1052" y="3060"/>
                </a:moveTo>
                <a:lnTo>
                  <a:pt x="1052" y="3231"/>
                </a:lnTo>
                <a:lnTo>
                  <a:pt x="967" y="3145"/>
                </a:lnTo>
                <a:lnTo>
                  <a:pt x="1052" y="3060"/>
                </a:lnTo>
                <a:close/>
                <a:moveTo>
                  <a:pt x="1016" y="3243"/>
                </a:moveTo>
                <a:lnTo>
                  <a:pt x="869" y="3243"/>
                </a:lnTo>
                <a:lnTo>
                  <a:pt x="942" y="3170"/>
                </a:lnTo>
                <a:lnTo>
                  <a:pt x="1016" y="3243"/>
                </a:lnTo>
                <a:close/>
                <a:moveTo>
                  <a:pt x="1028" y="3304"/>
                </a:moveTo>
                <a:lnTo>
                  <a:pt x="942" y="3378"/>
                </a:lnTo>
                <a:lnTo>
                  <a:pt x="869" y="3304"/>
                </a:lnTo>
                <a:lnTo>
                  <a:pt x="1028" y="3304"/>
                </a:lnTo>
                <a:close/>
                <a:moveTo>
                  <a:pt x="1052" y="3317"/>
                </a:moveTo>
                <a:lnTo>
                  <a:pt x="1052" y="3488"/>
                </a:lnTo>
                <a:lnTo>
                  <a:pt x="967" y="3402"/>
                </a:lnTo>
                <a:lnTo>
                  <a:pt x="1052" y="3317"/>
                </a:lnTo>
                <a:close/>
                <a:moveTo>
                  <a:pt x="1016" y="3500"/>
                </a:moveTo>
                <a:lnTo>
                  <a:pt x="869" y="3500"/>
                </a:lnTo>
                <a:lnTo>
                  <a:pt x="942" y="3427"/>
                </a:lnTo>
                <a:lnTo>
                  <a:pt x="1016" y="3500"/>
                </a:lnTo>
                <a:close/>
                <a:moveTo>
                  <a:pt x="1028" y="3561"/>
                </a:moveTo>
                <a:lnTo>
                  <a:pt x="942" y="3635"/>
                </a:lnTo>
                <a:lnTo>
                  <a:pt x="869" y="3561"/>
                </a:lnTo>
                <a:lnTo>
                  <a:pt x="1028" y="3561"/>
                </a:lnTo>
                <a:close/>
                <a:moveTo>
                  <a:pt x="1052" y="3574"/>
                </a:moveTo>
                <a:lnTo>
                  <a:pt x="1052" y="3745"/>
                </a:lnTo>
                <a:lnTo>
                  <a:pt x="967" y="3659"/>
                </a:lnTo>
                <a:lnTo>
                  <a:pt x="1052" y="3574"/>
                </a:lnTo>
                <a:close/>
                <a:moveTo>
                  <a:pt x="1028" y="1946"/>
                </a:moveTo>
                <a:lnTo>
                  <a:pt x="942" y="2032"/>
                </a:lnTo>
                <a:lnTo>
                  <a:pt x="869" y="1946"/>
                </a:lnTo>
                <a:lnTo>
                  <a:pt x="1028" y="1946"/>
                </a:lnTo>
                <a:close/>
                <a:moveTo>
                  <a:pt x="869" y="1897"/>
                </a:moveTo>
                <a:lnTo>
                  <a:pt x="942" y="1824"/>
                </a:lnTo>
                <a:lnTo>
                  <a:pt x="1016" y="1897"/>
                </a:lnTo>
                <a:lnTo>
                  <a:pt x="869" y="1897"/>
                </a:lnTo>
                <a:close/>
                <a:moveTo>
                  <a:pt x="1052" y="1970"/>
                </a:moveTo>
                <a:lnTo>
                  <a:pt x="1052" y="2130"/>
                </a:lnTo>
                <a:lnTo>
                  <a:pt x="967" y="2056"/>
                </a:lnTo>
                <a:lnTo>
                  <a:pt x="1052" y="1970"/>
                </a:lnTo>
                <a:close/>
                <a:moveTo>
                  <a:pt x="1016" y="2154"/>
                </a:moveTo>
                <a:lnTo>
                  <a:pt x="869" y="2154"/>
                </a:lnTo>
                <a:lnTo>
                  <a:pt x="942" y="2081"/>
                </a:lnTo>
                <a:lnTo>
                  <a:pt x="1016" y="2154"/>
                </a:lnTo>
                <a:close/>
                <a:moveTo>
                  <a:pt x="1028" y="2203"/>
                </a:moveTo>
                <a:lnTo>
                  <a:pt x="942" y="2289"/>
                </a:lnTo>
                <a:lnTo>
                  <a:pt x="869" y="2203"/>
                </a:lnTo>
                <a:lnTo>
                  <a:pt x="1028" y="2203"/>
                </a:lnTo>
                <a:close/>
                <a:moveTo>
                  <a:pt x="1052" y="2227"/>
                </a:moveTo>
                <a:lnTo>
                  <a:pt x="1052" y="2387"/>
                </a:lnTo>
                <a:lnTo>
                  <a:pt x="967" y="2313"/>
                </a:lnTo>
                <a:lnTo>
                  <a:pt x="1052" y="2227"/>
                </a:lnTo>
                <a:close/>
                <a:moveTo>
                  <a:pt x="1016" y="2411"/>
                </a:moveTo>
                <a:lnTo>
                  <a:pt x="869" y="2411"/>
                </a:lnTo>
                <a:lnTo>
                  <a:pt x="942" y="2338"/>
                </a:lnTo>
                <a:lnTo>
                  <a:pt x="1016" y="2411"/>
                </a:lnTo>
                <a:close/>
                <a:moveTo>
                  <a:pt x="1028" y="2460"/>
                </a:moveTo>
                <a:lnTo>
                  <a:pt x="942" y="2533"/>
                </a:lnTo>
                <a:lnTo>
                  <a:pt x="869" y="2460"/>
                </a:lnTo>
                <a:lnTo>
                  <a:pt x="1028" y="2460"/>
                </a:lnTo>
                <a:close/>
                <a:moveTo>
                  <a:pt x="1052" y="2484"/>
                </a:moveTo>
                <a:lnTo>
                  <a:pt x="1052" y="2644"/>
                </a:lnTo>
                <a:lnTo>
                  <a:pt x="967" y="2570"/>
                </a:lnTo>
                <a:lnTo>
                  <a:pt x="1052" y="2484"/>
                </a:lnTo>
                <a:close/>
                <a:moveTo>
                  <a:pt x="1052" y="1872"/>
                </a:moveTo>
                <a:lnTo>
                  <a:pt x="967" y="1799"/>
                </a:lnTo>
                <a:lnTo>
                  <a:pt x="1052" y="1713"/>
                </a:lnTo>
                <a:lnTo>
                  <a:pt x="1052" y="1872"/>
                </a:lnTo>
                <a:close/>
                <a:moveTo>
                  <a:pt x="942" y="1775"/>
                </a:moveTo>
                <a:lnTo>
                  <a:pt x="869" y="1689"/>
                </a:lnTo>
                <a:lnTo>
                  <a:pt x="1028" y="1689"/>
                </a:lnTo>
                <a:lnTo>
                  <a:pt x="942" y="1775"/>
                </a:lnTo>
                <a:close/>
                <a:moveTo>
                  <a:pt x="1003" y="392"/>
                </a:moveTo>
                <a:lnTo>
                  <a:pt x="942" y="453"/>
                </a:lnTo>
                <a:lnTo>
                  <a:pt x="881" y="392"/>
                </a:lnTo>
                <a:lnTo>
                  <a:pt x="1003" y="392"/>
                </a:lnTo>
                <a:close/>
                <a:moveTo>
                  <a:pt x="881" y="355"/>
                </a:moveTo>
                <a:lnTo>
                  <a:pt x="942" y="294"/>
                </a:lnTo>
                <a:lnTo>
                  <a:pt x="1003" y="355"/>
                </a:lnTo>
                <a:lnTo>
                  <a:pt x="881" y="355"/>
                </a:lnTo>
                <a:close/>
                <a:moveTo>
                  <a:pt x="1028" y="404"/>
                </a:moveTo>
                <a:lnTo>
                  <a:pt x="1028" y="538"/>
                </a:lnTo>
                <a:lnTo>
                  <a:pt x="967" y="465"/>
                </a:lnTo>
                <a:lnTo>
                  <a:pt x="1028" y="404"/>
                </a:lnTo>
                <a:close/>
                <a:moveTo>
                  <a:pt x="1003" y="551"/>
                </a:moveTo>
                <a:lnTo>
                  <a:pt x="881" y="551"/>
                </a:lnTo>
                <a:lnTo>
                  <a:pt x="942" y="490"/>
                </a:lnTo>
                <a:lnTo>
                  <a:pt x="1003" y="551"/>
                </a:lnTo>
                <a:close/>
                <a:moveTo>
                  <a:pt x="1028" y="930"/>
                </a:moveTo>
                <a:lnTo>
                  <a:pt x="1028" y="967"/>
                </a:lnTo>
                <a:lnTo>
                  <a:pt x="991" y="930"/>
                </a:lnTo>
                <a:lnTo>
                  <a:pt x="1028" y="930"/>
                </a:lnTo>
                <a:close/>
                <a:moveTo>
                  <a:pt x="954" y="930"/>
                </a:moveTo>
                <a:lnTo>
                  <a:pt x="991" y="967"/>
                </a:lnTo>
                <a:lnTo>
                  <a:pt x="881" y="967"/>
                </a:lnTo>
                <a:lnTo>
                  <a:pt x="930" y="930"/>
                </a:lnTo>
                <a:lnTo>
                  <a:pt x="954" y="930"/>
                </a:lnTo>
                <a:close/>
                <a:moveTo>
                  <a:pt x="1003" y="1016"/>
                </a:moveTo>
                <a:lnTo>
                  <a:pt x="942" y="1077"/>
                </a:lnTo>
                <a:lnTo>
                  <a:pt x="881" y="1016"/>
                </a:lnTo>
                <a:lnTo>
                  <a:pt x="1003" y="1016"/>
                </a:lnTo>
                <a:close/>
                <a:moveTo>
                  <a:pt x="1028" y="1028"/>
                </a:moveTo>
                <a:lnTo>
                  <a:pt x="1028" y="1163"/>
                </a:lnTo>
                <a:lnTo>
                  <a:pt x="954" y="1089"/>
                </a:lnTo>
                <a:lnTo>
                  <a:pt x="1028" y="1028"/>
                </a:lnTo>
                <a:close/>
                <a:moveTo>
                  <a:pt x="991" y="1163"/>
                </a:moveTo>
                <a:lnTo>
                  <a:pt x="881" y="1163"/>
                </a:lnTo>
                <a:lnTo>
                  <a:pt x="942" y="1114"/>
                </a:lnTo>
                <a:lnTo>
                  <a:pt x="991" y="1163"/>
                </a:lnTo>
                <a:close/>
                <a:moveTo>
                  <a:pt x="1003" y="1212"/>
                </a:moveTo>
                <a:lnTo>
                  <a:pt x="942" y="1273"/>
                </a:lnTo>
                <a:lnTo>
                  <a:pt x="881" y="1212"/>
                </a:lnTo>
                <a:lnTo>
                  <a:pt x="1003" y="1212"/>
                </a:lnTo>
                <a:close/>
                <a:moveTo>
                  <a:pt x="1028" y="1224"/>
                </a:moveTo>
                <a:lnTo>
                  <a:pt x="1028" y="1358"/>
                </a:lnTo>
                <a:lnTo>
                  <a:pt x="954" y="1285"/>
                </a:lnTo>
                <a:lnTo>
                  <a:pt x="1028" y="1224"/>
                </a:lnTo>
                <a:close/>
                <a:moveTo>
                  <a:pt x="991" y="1371"/>
                </a:moveTo>
                <a:lnTo>
                  <a:pt x="881" y="1371"/>
                </a:lnTo>
                <a:lnTo>
                  <a:pt x="942" y="1310"/>
                </a:lnTo>
                <a:lnTo>
                  <a:pt x="991" y="1371"/>
                </a:lnTo>
                <a:close/>
                <a:moveTo>
                  <a:pt x="1003" y="1407"/>
                </a:moveTo>
                <a:lnTo>
                  <a:pt x="942" y="1469"/>
                </a:lnTo>
                <a:lnTo>
                  <a:pt x="881" y="1407"/>
                </a:lnTo>
                <a:lnTo>
                  <a:pt x="1003" y="1407"/>
                </a:lnTo>
                <a:close/>
                <a:moveTo>
                  <a:pt x="1028" y="1420"/>
                </a:moveTo>
                <a:lnTo>
                  <a:pt x="1028" y="1554"/>
                </a:lnTo>
                <a:lnTo>
                  <a:pt x="954" y="1481"/>
                </a:lnTo>
                <a:lnTo>
                  <a:pt x="1028" y="1420"/>
                </a:lnTo>
                <a:close/>
                <a:moveTo>
                  <a:pt x="1028" y="343"/>
                </a:moveTo>
                <a:lnTo>
                  <a:pt x="967" y="269"/>
                </a:lnTo>
                <a:lnTo>
                  <a:pt x="1028" y="208"/>
                </a:lnTo>
                <a:lnTo>
                  <a:pt x="1028" y="343"/>
                </a:lnTo>
                <a:close/>
                <a:moveTo>
                  <a:pt x="1003" y="196"/>
                </a:moveTo>
                <a:lnTo>
                  <a:pt x="942" y="257"/>
                </a:lnTo>
                <a:lnTo>
                  <a:pt x="881" y="196"/>
                </a:lnTo>
                <a:lnTo>
                  <a:pt x="1003" y="196"/>
                </a:lnTo>
                <a:close/>
                <a:moveTo>
                  <a:pt x="857" y="208"/>
                </a:moveTo>
                <a:lnTo>
                  <a:pt x="918" y="269"/>
                </a:lnTo>
                <a:lnTo>
                  <a:pt x="857" y="330"/>
                </a:lnTo>
                <a:lnTo>
                  <a:pt x="857" y="208"/>
                </a:lnTo>
                <a:close/>
                <a:moveTo>
                  <a:pt x="857" y="404"/>
                </a:moveTo>
                <a:lnTo>
                  <a:pt x="918" y="465"/>
                </a:lnTo>
                <a:lnTo>
                  <a:pt x="857" y="526"/>
                </a:lnTo>
                <a:lnTo>
                  <a:pt x="857" y="404"/>
                </a:lnTo>
                <a:close/>
                <a:moveTo>
                  <a:pt x="857" y="930"/>
                </a:moveTo>
                <a:lnTo>
                  <a:pt x="881" y="930"/>
                </a:lnTo>
                <a:lnTo>
                  <a:pt x="857" y="955"/>
                </a:lnTo>
                <a:lnTo>
                  <a:pt x="857" y="930"/>
                </a:lnTo>
                <a:close/>
                <a:moveTo>
                  <a:pt x="857" y="1028"/>
                </a:moveTo>
                <a:lnTo>
                  <a:pt x="918" y="1089"/>
                </a:lnTo>
                <a:lnTo>
                  <a:pt x="857" y="1150"/>
                </a:lnTo>
                <a:lnTo>
                  <a:pt x="857" y="1028"/>
                </a:lnTo>
                <a:close/>
                <a:moveTo>
                  <a:pt x="857" y="1224"/>
                </a:moveTo>
                <a:lnTo>
                  <a:pt x="918" y="1285"/>
                </a:lnTo>
                <a:lnTo>
                  <a:pt x="857" y="1346"/>
                </a:lnTo>
                <a:lnTo>
                  <a:pt x="857" y="1224"/>
                </a:lnTo>
                <a:close/>
                <a:moveTo>
                  <a:pt x="857" y="1432"/>
                </a:moveTo>
                <a:lnTo>
                  <a:pt x="918" y="1481"/>
                </a:lnTo>
                <a:lnTo>
                  <a:pt x="857" y="1542"/>
                </a:lnTo>
                <a:lnTo>
                  <a:pt x="857" y="1432"/>
                </a:lnTo>
                <a:close/>
                <a:moveTo>
                  <a:pt x="857" y="1591"/>
                </a:moveTo>
                <a:lnTo>
                  <a:pt x="942" y="1505"/>
                </a:lnTo>
                <a:lnTo>
                  <a:pt x="1028" y="1591"/>
                </a:lnTo>
                <a:lnTo>
                  <a:pt x="1028" y="1640"/>
                </a:lnTo>
                <a:lnTo>
                  <a:pt x="857" y="1640"/>
                </a:lnTo>
                <a:lnTo>
                  <a:pt x="857" y="1591"/>
                </a:lnTo>
                <a:close/>
                <a:moveTo>
                  <a:pt x="844" y="1713"/>
                </a:moveTo>
                <a:lnTo>
                  <a:pt x="918" y="1799"/>
                </a:lnTo>
                <a:lnTo>
                  <a:pt x="844" y="1872"/>
                </a:lnTo>
                <a:lnTo>
                  <a:pt x="844" y="1713"/>
                </a:lnTo>
                <a:close/>
                <a:moveTo>
                  <a:pt x="844" y="1970"/>
                </a:moveTo>
                <a:lnTo>
                  <a:pt x="918" y="2056"/>
                </a:lnTo>
                <a:lnTo>
                  <a:pt x="844" y="2130"/>
                </a:lnTo>
                <a:lnTo>
                  <a:pt x="844" y="1970"/>
                </a:lnTo>
                <a:close/>
                <a:moveTo>
                  <a:pt x="844" y="2227"/>
                </a:moveTo>
                <a:lnTo>
                  <a:pt x="918" y="2313"/>
                </a:lnTo>
                <a:lnTo>
                  <a:pt x="844" y="2387"/>
                </a:lnTo>
                <a:lnTo>
                  <a:pt x="844" y="2227"/>
                </a:lnTo>
                <a:close/>
                <a:moveTo>
                  <a:pt x="844" y="2484"/>
                </a:moveTo>
                <a:lnTo>
                  <a:pt x="918" y="2570"/>
                </a:lnTo>
                <a:lnTo>
                  <a:pt x="844" y="2644"/>
                </a:lnTo>
                <a:lnTo>
                  <a:pt x="844" y="2484"/>
                </a:lnTo>
                <a:close/>
                <a:moveTo>
                  <a:pt x="844" y="2692"/>
                </a:moveTo>
                <a:lnTo>
                  <a:pt x="942" y="2595"/>
                </a:lnTo>
                <a:lnTo>
                  <a:pt x="1052" y="2705"/>
                </a:lnTo>
                <a:lnTo>
                  <a:pt x="1052" y="2705"/>
                </a:lnTo>
                <a:lnTo>
                  <a:pt x="1052" y="2729"/>
                </a:lnTo>
                <a:lnTo>
                  <a:pt x="844" y="2729"/>
                </a:lnTo>
                <a:lnTo>
                  <a:pt x="844" y="2692"/>
                </a:lnTo>
                <a:close/>
                <a:moveTo>
                  <a:pt x="844" y="2815"/>
                </a:moveTo>
                <a:lnTo>
                  <a:pt x="918" y="2888"/>
                </a:lnTo>
                <a:lnTo>
                  <a:pt x="844" y="2974"/>
                </a:lnTo>
                <a:lnTo>
                  <a:pt x="844" y="2815"/>
                </a:lnTo>
                <a:close/>
                <a:moveTo>
                  <a:pt x="844" y="3072"/>
                </a:moveTo>
                <a:lnTo>
                  <a:pt x="918" y="3145"/>
                </a:lnTo>
                <a:lnTo>
                  <a:pt x="844" y="3231"/>
                </a:lnTo>
                <a:lnTo>
                  <a:pt x="844" y="3072"/>
                </a:lnTo>
                <a:close/>
                <a:moveTo>
                  <a:pt x="844" y="3329"/>
                </a:moveTo>
                <a:lnTo>
                  <a:pt x="918" y="3402"/>
                </a:lnTo>
                <a:lnTo>
                  <a:pt x="844" y="3488"/>
                </a:lnTo>
                <a:lnTo>
                  <a:pt x="844" y="3329"/>
                </a:lnTo>
                <a:close/>
                <a:moveTo>
                  <a:pt x="844" y="3586"/>
                </a:moveTo>
                <a:lnTo>
                  <a:pt x="918" y="3659"/>
                </a:lnTo>
                <a:lnTo>
                  <a:pt x="844" y="3745"/>
                </a:lnTo>
                <a:lnTo>
                  <a:pt x="844" y="3586"/>
                </a:lnTo>
                <a:close/>
                <a:moveTo>
                  <a:pt x="281" y="673"/>
                </a:moveTo>
                <a:lnTo>
                  <a:pt x="306" y="673"/>
                </a:lnTo>
                <a:lnTo>
                  <a:pt x="281" y="710"/>
                </a:lnTo>
                <a:lnTo>
                  <a:pt x="281" y="673"/>
                </a:lnTo>
                <a:close/>
                <a:moveTo>
                  <a:pt x="281" y="808"/>
                </a:moveTo>
                <a:lnTo>
                  <a:pt x="281" y="771"/>
                </a:lnTo>
                <a:lnTo>
                  <a:pt x="318" y="808"/>
                </a:lnTo>
                <a:lnTo>
                  <a:pt x="281" y="808"/>
                </a:lnTo>
                <a:close/>
                <a:moveTo>
                  <a:pt x="330" y="783"/>
                </a:moveTo>
                <a:lnTo>
                  <a:pt x="281" y="734"/>
                </a:lnTo>
                <a:lnTo>
                  <a:pt x="330" y="685"/>
                </a:lnTo>
                <a:lnTo>
                  <a:pt x="330" y="783"/>
                </a:lnTo>
                <a:close/>
                <a:moveTo>
                  <a:pt x="416" y="734"/>
                </a:moveTo>
                <a:lnTo>
                  <a:pt x="367" y="783"/>
                </a:lnTo>
                <a:lnTo>
                  <a:pt x="367" y="685"/>
                </a:lnTo>
                <a:lnTo>
                  <a:pt x="416" y="734"/>
                </a:lnTo>
                <a:close/>
                <a:moveTo>
                  <a:pt x="379" y="673"/>
                </a:moveTo>
                <a:lnTo>
                  <a:pt x="477" y="673"/>
                </a:lnTo>
                <a:lnTo>
                  <a:pt x="428" y="722"/>
                </a:lnTo>
                <a:lnTo>
                  <a:pt x="379" y="673"/>
                </a:lnTo>
                <a:close/>
                <a:moveTo>
                  <a:pt x="367" y="808"/>
                </a:moveTo>
                <a:lnTo>
                  <a:pt x="428" y="747"/>
                </a:lnTo>
                <a:lnTo>
                  <a:pt x="477" y="808"/>
                </a:lnTo>
                <a:lnTo>
                  <a:pt x="367" y="808"/>
                </a:lnTo>
                <a:close/>
                <a:moveTo>
                  <a:pt x="489" y="783"/>
                </a:moveTo>
                <a:lnTo>
                  <a:pt x="440" y="734"/>
                </a:lnTo>
                <a:lnTo>
                  <a:pt x="489" y="685"/>
                </a:lnTo>
                <a:lnTo>
                  <a:pt x="489" y="783"/>
                </a:lnTo>
                <a:close/>
                <a:moveTo>
                  <a:pt x="575" y="734"/>
                </a:moveTo>
                <a:lnTo>
                  <a:pt x="526" y="783"/>
                </a:lnTo>
                <a:lnTo>
                  <a:pt x="526" y="685"/>
                </a:lnTo>
                <a:lnTo>
                  <a:pt x="575" y="734"/>
                </a:lnTo>
                <a:close/>
                <a:moveTo>
                  <a:pt x="538" y="673"/>
                </a:moveTo>
                <a:lnTo>
                  <a:pt x="648" y="673"/>
                </a:lnTo>
                <a:lnTo>
                  <a:pt x="587" y="722"/>
                </a:lnTo>
                <a:lnTo>
                  <a:pt x="538" y="673"/>
                </a:lnTo>
                <a:close/>
                <a:moveTo>
                  <a:pt x="538" y="808"/>
                </a:moveTo>
                <a:lnTo>
                  <a:pt x="587" y="747"/>
                </a:lnTo>
                <a:lnTo>
                  <a:pt x="648" y="808"/>
                </a:lnTo>
                <a:lnTo>
                  <a:pt x="538" y="808"/>
                </a:lnTo>
                <a:close/>
                <a:moveTo>
                  <a:pt x="661" y="783"/>
                </a:moveTo>
                <a:lnTo>
                  <a:pt x="612" y="734"/>
                </a:lnTo>
                <a:lnTo>
                  <a:pt x="661" y="685"/>
                </a:lnTo>
                <a:lnTo>
                  <a:pt x="661" y="783"/>
                </a:lnTo>
                <a:close/>
                <a:moveTo>
                  <a:pt x="771" y="808"/>
                </a:moveTo>
                <a:lnTo>
                  <a:pt x="697" y="808"/>
                </a:lnTo>
                <a:lnTo>
                  <a:pt x="759" y="747"/>
                </a:lnTo>
                <a:lnTo>
                  <a:pt x="771" y="771"/>
                </a:lnTo>
                <a:lnTo>
                  <a:pt x="771" y="808"/>
                </a:lnTo>
                <a:close/>
                <a:moveTo>
                  <a:pt x="697" y="783"/>
                </a:moveTo>
                <a:lnTo>
                  <a:pt x="697" y="685"/>
                </a:lnTo>
                <a:lnTo>
                  <a:pt x="746" y="734"/>
                </a:lnTo>
                <a:lnTo>
                  <a:pt x="697" y="783"/>
                </a:lnTo>
                <a:close/>
                <a:moveTo>
                  <a:pt x="771" y="698"/>
                </a:moveTo>
                <a:lnTo>
                  <a:pt x="759" y="722"/>
                </a:lnTo>
                <a:lnTo>
                  <a:pt x="710" y="673"/>
                </a:lnTo>
                <a:lnTo>
                  <a:pt x="771" y="673"/>
                </a:lnTo>
                <a:lnTo>
                  <a:pt x="771" y="698"/>
                </a:lnTo>
                <a:close/>
                <a:moveTo>
                  <a:pt x="771" y="551"/>
                </a:moveTo>
                <a:lnTo>
                  <a:pt x="771" y="636"/>
                </a:lnTo>
                <a:lnTo>
                  <a:pt x="697" y="636"/>
                </a:lnTo>
                <a:lnTo>
                  <a:pt x="661" y="636"/>
                </a:lnTo>
                <a:lnTo>
                  <a:pt x="526" y="636"/>
                </a:lnTo>
                <a:lnTo>
                  <a:pt x="489" y="636"/>
                </a:lnTo>
                <a:lnTo>
                  <a:pt x="367" y="636"/>
                </a:lnTo>
                <a:lnTo>
                  <a:pt x="330" y="636"/>
                </a:lnTo>
                <a:lnTo>
                  <a:pt x="318" y="636"/>
                </a:lnTo>
                <a:lnTo>
                  <a:pt x="820" y="171"/>
                </a:lnTo>
                <a:lnTo>
                  <a:pt x="820" y="196"/>
                </a:lnTo>
                <a:lnTo>
                  <a:pt x="820" y="355"/>
                </a:lnTo>
                <a:lnTo>
                  <a:pt x="820" y="392"/>
                </a:lnTo>
                <a:lnTo>
                  <a:pt x="820" y="551"/>
                </a:lnTo>
                <a:lnTo>
                  <a:pt x="820" y="551"/>
                </a:lnTo>
                <a:lnTo>
                  <a:pt x="771" y="551"/>
                </a:lnTo>
                <a:close/>
                <a:moveTo>
                  <a:pt x="844" y="3794"/>
                </a:moveTo>
                <a:lnTo>
                  <a:pt x="942" y="3684"/>
                </a:lnTo>
                <a:lnTo>
                  <a:pt x="1052" y="3794"/>
                </a:lnTo>
                <a:lnTo>
                  <a:pt x="1052" y="3794"/>
                </a:lnTo>
                <a:lnTo>
                  <a:pt x="1052" y="3818"/>
                </a:lnTo>
                <a:lnTo>
                  <a:pt x="844" y="3818"/>
                </a:lnTo>
                <a:lnTo>
                  <a:pt x="844" y="3794"/>
                </a:lnTo>
                <a:close/>
              </a:path>
            </a:pathLst>
          </a:custGeom>
          <a:solidFill>
            <a:srgbClr val="63666A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th-TH" sz="900"/>
          </a:p>
        </p:txBody>
      </p:sp>
    </p:spTree>
    <p:extLst>
      <p:ext uri="{BB962C8B-B14F-4D97-AF65-F5344CB8AC3E}">
        <p14:creationId xmlns:p14="http://schemas.microsoft.com/office/powerpoint/2010/main" val="34833568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vanced graphics timesaver</a:t>
            </a:r>
          </a:p>
          <a:p>
            <a:pPr lvl="0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2576420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13264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92547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12580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2551221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307594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5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48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710" r:id="rId3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BF9DED-164D-D454-D288-8828CD45C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99FBBA-E477-4D4E-A802-57A7700CE7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F5584-A64F-AAAE-39EC-F23B612ECA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B1C44B-DA53-4AB8-87D5-0652579E6990}" type="datetimeFigureOut">
              <a:rPr lang="en-US" smtClean="0"/>
              <a:t>12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8E1408-29DE-6C42-24C1-A8500C426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14ABCF-EE96-D990-9A40-D243380B3C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6D75D-A63A-4125-87A1-771832CC53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0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0642990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403D44-5C3F-9E42-A9BF-3F2D6C6B851B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178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in/tolulopeakinlabi/" TargetMode="External"/><Relationship Id="rId13" Type="http://schemas.openxmlformats.org/officeDocument/2006/relationships/image" Target="../media/image20.jpeg"/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12" Type="http://schemas.openxmlformats.org/officeDocument/2006/relationships/hyperlink" Target="https://www.linkedin.com/in/hanwenzuo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11" Type="http://schemas.openxmlformats.org/officeDocument/2006/relationships/hyperlink" Target="https://www.linkedin.com/in/dseo23/" TargetMode="External"/><Relationship Id="rId5" Type="http://schemas.openxmlformats.org/officeDocument/2006/relationships/image" Target="../media/image17.jpeg"/><Relationship Id="rId10" Type="http://schemas.openxmlformats.org/officeDocument/2006/relationships/hyperlink" Target="https://www.linkedin.com/in/alexandria-lr" TargetMode="External"/><Relationship Id="rId4" Type="http://schemas.openxmlformats.org/officeDocument/2006/relationships/image" Target="../media/image16.jpeg"/><Relationship Id="rId9" Type="http://schemas.openxmlformats.org/officeDocument/2006/relationships/hyperlink" Target="https://www.linkedin.com/in/brandon-kokin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2D3_3A10AB9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notesSlide" Target="../notesSlides/notesSlide14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slideLayout" Target="../slideLayouts/slideLayout15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7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microsoft.com/office/2018/10/relationships/comments" Target="../comments/modernComment_702_F4E958FD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CAB432B-E0E7-4F80-A4A1-76DCDC1FBF7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" r="15"/>
          <a:stretch>
            <a:fillRect/>
          </a:stretch>
        </p:blipFill>
        <p:spPr/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49" y="5186207"/>
            <a:ext cx="9027361" cy="895983"/>
          </a:xfrm>
        </p:spPr>
        <p:txBody>
          <a:bodyPr/>
          <a:lstStyle/>
          <a:p>
            <a:r>
              <a:rPr lang="en-US">
                <a:latin typeface="Calibri Light"/>
                <a:ea typeface="Open Sans"/>
                <a:cs typeface="Calibri Light"/>
              </a:rPr>
              <a:t>Optimal Machine Failure Prediction Model For Toyota</a:t>
            </a:r>
            <a:endParaRPr lang="en-US">
              <a:solidFill>
                <a:srgbClr val="86BC25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250675"/>
            <a:ext cx="4446269" cy="376829"/>
          </a:xfrm>
        </p:spPr>
        <p:txBody>
          <a:bodyPr>
            <a:noAutofit/>
          </a:bodyPr>
          <a:lstStyle/>
          <a:p>
            <a:r>
              <a:rPr lang="en-US" err="1"/>
              <a:t>Tolulope</a:t>
            </a:r>
            <a:r>
              <a:rPr lang="en-US"/>
              <a:t> </a:t>
            </a:r>
            <a:r>
              <a:rPr lang="en-US" err="1"/>
              <a:t>Akinlabi</a:t>
            </a:r>
            <a:r>
              <a:rPr lang="en-US"/>
              <a:t>, Brandon Kokin, Alexandria Lee-Robinson, Diana </a:t>
            </a:r>
            <a:r>
              <a:rPr lang="en-US" err="1"/>
              <a:t>Seo</a:t>
            </a:r>
            <a:r>
              <a:rPr lang="en-US"/>
              <a:t>, </a:t>
            </a:r>
            <a:r>
              <a:rPr lang="en-US" err="1"/>
              <a:t>Hanwen</a:t>
            </a:r>
            <a:r>
              <a:rPr lang="en-US"/>
              <a:t> </a:t>
            </a:r>
            <a:r>
              <a:rPr lang="en-US" err="1"/>
              <a:t>Zuo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in a circle&#10;&#10;Description automatically generated">
            <a:extLst>
              <a:ext uri="{FF2B5EF4-FFF2-40B4-BE49-F238E27FC236}">
                <a16:creationId xmlns:a16="http://schemas.microsoft.com/office/drawing/2014/main" id="{F480EEDA-FBC5-DCA3-35D2-6347F139D1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3716" y="727595"/>
            <a:ext cx="5400000" cy="5400000"/>
          </a:xfrm>
          <a:prstGeom prst="rect">
            <a:avLst/>
          </a:prstGeom>
          <a:noFill/>
        </p:spPr>
      </p:pic>
      <p:sp>
        <p:nvSpPr>
          <p:cNvPr id="276484" name="Title 1"/>
          <p:cNvSpPr>
            <a:spLocks noGrp="1"/>
          </p:cNvSpPr>
          <p:nvPr>
            <p:ph type="ctrTitle"/>
          </p:nvPr>
        </p:nvSpPr>
        <p:spPr/>
        <p:txBody>
          <a:bodyPr anchor="b">
            <a:normAutofit/>
          </a:bodyPr>
          <a:lstStyle/>
          <a:p>
            <a:r>
              <a:rPr lang="en-US"/>
              <a:t>Thank You For Considering Our Recommendation</a:t>
            </a:r>
          </a:p>
        </p:txBody>
      </p:sp>
      <p:sp>
        <p:nvSpPr>
          <p:cNvPr id="276486" name="Text Placeholder 3">
            <a:extLst>
              <a:ext uri="{FF2B5EF4-FFF2-40B4-BE49-F238E27FC236}">
                <a16:creationId xmlns:a16="http://schemas.microsoft.com/office/drawing/2014/main" id="{8E766B15-7DC0-0AB6-A688-2F9CBA3720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127595"/>
            <a:ext cx="4446269" cy="273050"/>
          </a:xfrm>
        </p:spPr>
        <p:txBody>
          <a:bodyPr/>
          <a:lstStyle/>
          <a:p>
            <a:r>
              <a:rPr lang="en-US"/>
              <a:t>Any Additional Questions?</a:t>
            </a:r>
          </a:p>
        </p:txBody>
      </p:sp>
      <p:pic>
        <p:nvPicPr>
          <p:cNvPr id="3" name="Picture 2" descr="A person with long hair wearing a black jacket&#10;&#10;Description automatically generated">
            <a:extLst>
              <a:ext uri="{FF2B5EF4-FFF2-40B4-BE49-F238E27FC236}">
                <a16:creationId xmlns:a16="http://schemas.microsoft.com/office/drawing/2014/main" id="{9E7E78D0-6372-B25D-32E8-FFE7072C2C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08" y="3787107"/>
            <a:ext cx="657810" cy="657810"/>
          </a:xfrm>
          <a:prstGeom prst="rect">
            <a:avLst/>
          </a:prstGeom>
        </p:spPr>
      </p:pic>
      <p:pic>
        <p:nvPicPr>
          <p:cNvPr id="6" name="Picture 5" descr="A person in a suit and tie&#10;&#10;Description automatically generated">
            <a:extLst>
              <a:ext uri="{FF2B5EF4-FFF2-40B4-BE49-F238E27FC236}">
                <a16:creationId xmlns:a16="http://schemas.microsoft.com/office/drawing/2014/main" id="{F0534B64-F2DE-888B-AB6D-2DE58C4D33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4383" y="1983125"/>
            <a:ext cx="657810" cy="657810"/>
          </a:xfrm>
          <a:prstGeom prst="rect">
            <a:avLst/>
          </a:prstGeom>
        </p:spPr>
      </p:pic>
      <p:pic>
        <p:nvPicPr>
          <p:cNvPr id="9" name="Picture 8" descr="A person in a suit&#10;&#10;Description automatically generated">
            <a:extLst>
              <a:ext uri="{FF2B5EF4-FFF2-40B4-BE49-F238E27FC236}">
                <a16:creationId xmlns:a16="http://schemas.microsoft.com/office/drawing/2014/main" id="{0F73D021-A747-65AE-18E3-D1EA8A1587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4810" y="1080291"/>
            <a:ext cx="657811" cy="657811"/>
          </a:xfrm>
          <a:prstGeom prst="rect">
            <a:avLst/>
          </a:prstGeom>
        </p:spPr>
      </p:pic>
      <p:pic>
        <p:nvPicPr>
          <p:cNvPr id="14" name="Picture 13" descr="A person with braids smiling&#10;&#10;Description automatically generated">
            <a:extLst>
              <a:ext uri="{FF2B5EF4-FFF2-40B4-BE49-F238E27FC236}">
                <a16:creationId xmlns:a16="http://schemas.microsoft.com/office/drawing/2014/main" id="{6587CE4C-D896-4D98-C3A6-C877946F7C9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881" y="2897302"/>
            <a:ext cx="657810" cy="65781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E84CBFE-9901-8510-C85C-460C8B7D3052}"/>
              </a:ext>
            </a:extLst>
          </p:cNvPr>
          <p:cNvSpPr txBox="1"/>
          <p:nvPr/>
        </p:nvSpPr>
        <p:spPr>
          <a:xfrm>
            <a:off x="9122193" y="1255307"/>
            <a:ext cx="30698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8"/>
              </a:rPr>
              <a:t>Tolulope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8"/>
              </a:rPr>
              <a:t> </a:t>
            </a:r>
            <a:r>
              <a:rPr kumimoji="0" lang="en-US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8"/>
              </a:rPr>
              <a:t>Akinlabi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AF20C3F-5FD4-D407-39C3-664EC51254EB}"/>
              </a:ext>
            </a:extLst>
          </p:cNvPr>
          <p:cNvSpPr txBox="1"/>
          <p:nvPr/>
        </p:nvSpPr>
        <p:spPr>
          <a:xfrm>
            <a:off x="9122193" y="2127364"/>
            <a:ext cx="30698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9"/>
              </a:rPr>
              <a:t>Brandon Kokin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BDB31CA-618E-1A6E-2BE2-40498D2C30C1}"/>
              </a:ext>
            </a:extLst>
          </p:cNvPr>
          <p:cNvSpPr txBox="1"/>
          <p:nvPr/>
        </p:nvSpPr>
        <p:spPr>
          <a:xfrm>
            <a:off x="9122193" y="3080801"/>
            <a:ext cx="90110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10"/>
              </a:rPr>
              <a:t>Alexandria Lee-Robinson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8E38CC6-8E4E-327A-367C-78DA473FB95D}"/>
              </a:ext>
            </a:extLst>
          </p:cNvPr>
          <p:cNvSpPr txBox="1"/>
          <p:nvPr/>
        </p:nvSpPr>
        <p:spPr>
          <a:xfrm>
            <a:off x="9122193" y="3934297"/>
            <a:ext cx="30698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11"/>
              </a:rPr>
              <a:t>Diana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11"/>
              </a:rPr>
              <a:t>Seo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2C4DF27-CDFE-1395-7C66-E19407971DC8}"/>
              </a:ext>
            </a:extLst>
          </p:cNvPr>
          <p:cNvSpPr txBox="1"/>
          <p:nvPr/>
        </p:nvSpPr>
        <p:spPr>
          <a:xfrm>
            <a:off x="9122193" y="4762975"/>
            <a:ext cx="9063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err="1">
                <a:solidFill>
                  <a:schemeClr val="bg1"/>
                </a:solidFill>
                <a:hlinkClick r:id="rId12"/>
              </a:rPr>
              <a:t>Hanwen</a:t>
            </a:r>
            <a:r>
              <a:rPr lang="en-US" b="1">
                <a:solidFill>
                  <a:schemeClr val="bg1"/>
                </a:solidFill>
                <a:hlinkClick r:id="rId12"/>
              </a:rPr>
              <a:t> </a:t>
            </a:r>
            <a:r>
              <a:rPr lang="en-US" b="1" err="1">
                <a:solidFill>
                  <a:schemeClr val="bg1"/>
                </a:solidFill>
                <a:hlinkClick r:id="rId12"/>
              </a:rPr>
              <a:t>Zuo</a:t>
            </a:r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5" name="Picture 4" descr="A person in a suit and tie&#10;&#10;Description automatically generated">
            <a:extLst>
              <a:ext uri="{FF2B5EF4-FFF2-40B4-BE49-F238E27FC236}">
                <a16:creationId xmlns:a16="http://schemas.microsoft.com/office/drawing/2014/main" id="{93FA31AF-4AE6-085A-429F-35F7816D96EC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09" b="21833"/>
          <a:stretch/>
        </p:blipFill>
        <p:spPr>
          <a:xfrm>
            <a:off x="8462844" y="4677195"/>
            <a:ext cx="659349" cy="668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05924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>
          <a:xfrm>
            <a:off x="499310" y="438970"/>
            <a:ext cx="11188700" cy="334099"/>
          </a:xfrm>
        </p:spPr>
        <p:txBody>
          <a:bodyPr/>
          <a:lstStyle/>
          <a:p>
            <a:r>
              <a:rPr lang="en-US"/>
              <a:t>Conclus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2A6D31-9EDF-E96E-CC40-27A07C7636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6285" y="719038"/>
            <a:ext cx="11188700" cy="334100"/>
          </a:xfrm>
        </p:spPr>
        <p:txBody>
          <a:bodyPr/>
          <a:lstStyle/>
          <a:p>
            <a:r>
              <a:rPr lang="en-US"/>
              <a:t>Optimal Model for Toyo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59E8EB-5AC8-9BC6-3F30-12D3261F7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9331" y="3088312"/>
            <a:ext cx="2767831" cy="41337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813AB50-4FA2-15EC-265D-9C2EEE6CCCF4}"/>
              </a:ext>
            </a:extLst>
          </p:cNvPr>
          <p:cNvGrpSpPr/>
          <p:nvPr/>
        </p:nvGrpSpPr>
        <p:grpSpPr>
          <a:xfrm>
            <a:off x="9588485" y="2036783"/>
            <a:ext cx="1102201" cy="2539980"/>
            <a:chOff x="9189563" y="2475471"/>
            <a:chExt cx="1102201" cy="253998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E9CAB98-1070-7EE9-3603-0620CA86B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863" y="2475471"/>
              <a:ext cx="891901" cy="2539980"/>
            </a:xfrm>
            <a:custGeom>
              <a:avLst/>
              <a:gdLst>
                <a:gd name="T0" fmla="*/ 96 w 192"/>
                <a:gd name="T1" fmla="*/ 0 h 546"/>
                <a:gd name="T2" fmla="*/ 51 w 192"/>
                <a:gd name="T3" fmla="*/ 0 h 546"/>
                <a:gd name="T4" fmla="*/ 51 w 192"/>
                <a:gd name="T5" fmla="*/ 33 h 546"/>
                <a:gd name="T6" fmla="*/ 0 w 192"/>
                <a:gd name="T7" fmla="*/ 273 h 546"/>
                <a:gd name="T8" fmla="*/ 51 w 192"/>
                <a:gd name="T9" fmla="*/ 513 h 546"/>
                <a:gd name="T10" fmla="*/ 51 w 192"/>
                <a:gd name="T11" fmla="*/ 546 h 546"/>
                <a:gd name="T12" fmla="*/ 96 w 192"/>
                <a:gd name="T13" fmla="*/ 546 h 546"/>
                <a:gd name="T14" fmla="*/ 192 w 192"/>
                <a:gd name="T15" fmla="*/ 273 h 546"/>
                <a:gd name="T16" fmla="*/ 96 w 192"/>
                <a:gd name="T17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546">
                  <a:moveTo>
                    <a:pt x="96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21" y="79"/>
                    <a:pt x="0" y="169"/>
                    <a:pt x="0" y="273"/>
                  </a:cubicBezTo>
                  <a:cubicBezTo>
                    <a:pt x="0" y="377"/>
                    <a:pt x="21" y="467"/>
                    <a:pt x="51" y="513"/>
                  </a:cubicBezTo>
                  <a:cubicBezTo>
                    <a:pt x="51" y="546"/>
                    <a:pt x="51" y="546"/>
                    <a:pt x="51" y="546"/>
                  </a:cubicBezTo>
                  <a:cubicBezTo>
                    <a:pt x="96" y="546"/>
                    <a:pt x="96" y="546"/>
                    <a:pt x="96" y="546"/>
                  </a:cubicBezTo>
                  <a:cubicBezTo>
                    <a:pt x="149" y="546"/>
                    <a:pt x="192" y="424"/>
                    <a:pt x="192" y="273"/>
                  </a:cubicBezTo>
                  <a:cubicBezTo>
                    <a:pt x="192" y="122"/>
                    <a:pt x="149" y="0"/>
                    <a:pt x="9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F84DE71-B0D7-E32A-F734-311D35034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9563" y="2475471"/>
              <a:ext cx="888918" cy="2539980"/>
            </a:xfrm>
            <a:prstGeom prst="ellipse">
              <a:avLst/>
            </a:prstGeom>
            <a:solidFill>
              <a:srgbClr val="D0D0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3E3596D-5D6A-4F65-5116-76234AE48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1765" y="2732005"/>
              <a:ext cx="709942" cy="20269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19C6B02-21A6-CECA-B131-408448D5AD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05899" y="3024333"/>
              <a:ext cx="507101" cy="1442256"/>
            </a:xfrm>
            <a:prstGeom prst="ellipse">
              <a:avLst/>
            </a:prstGeom>
            <a:solidFill>
              <a:srgbClr val="D0D0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C42E0E0-D0BB-5A4A-EEF8-71C20D026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7049" y="3270427"/>
              <a:ext cx="334090" cy="95006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C3F6988-11FF-0CF6-0369-30A354CB86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7148" y="3531435"/>
              <a:ext cx="152130" cy="42805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38F0F1-95BA-B395-AC59-42A831DDF9E4}"/>
              </a:ext>
            </a:extLst>
          </p:cNvPr>
          <p:cNvGrpSpPr/>
          <p:nvPr/>
        </p:nvGrpSpPr>
        <p:grpSpPr>
          <a:xfrm>
            <a:off x="8794130" y="3274706"/>
            <a:ext cx="674146" cy="64134"/>
            <a:chOff x="9588443" y="3713394"/>
            <a:chExt cx="674146" cy="64134"/>
          </a:xfrm>
          <a:solidFill>
            <a:srgbClr val="97999B"/>
          </a:solidFill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0EE5D5D5-06CA-CD17-405A-E3DDA88FA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443" y="3746207"/>
              <a:ext cx="674146" cy="31321"/>
            </a:xfrm>
            <a:custGeom>
              <a:avLst/>
              <a:gdLst>
                <a:gd name="T0" fmla="*/ 418 w 452"/>
                <a:gd name="T1" fmla="*/ 0 h 21"/>
                <a:gd name="T2" fmla="*/ 418 w 452"/>
                <a:gd name="T3" fmla="*/ 0 h 21"/>
                <a:gd name="T4" fmla="*/ 0 w 452"/>
                <a:gd name="T5" fmla="*/ 0 h 21"/>
                <a:gd name="T6" fmla="*/ 0 w 452"/>
                <a:gd name="T7" fmla="*/ 21 h 21"/>
                <a:gd name="T8" fmla="*/ 418 w 452"/>
                <a:gd name="T9" fmla="*/ 21 h 21"/>
                <a:gd name="T10" fmla="*/ 452 w 452"/>
                <a:gd name="T11" fmla="*/ 0 h 21"/>
                <a:gd name="T12" fmla="*/ 418 w 45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2" h="21">
                  <a:moveTo>
                    <a:pt x="418" y="0"/>
                  </a:moveTo>
                  <a:lnTo>
                    <a:pt x="418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418" y="21"/>
                  </a:lnTo>
                  <a:lnTo>
                    <a:pt x="452" y="0"/>
                  </a:lnTo>
                  <a:lnTo>
                    <a:pt x="4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0160FF70-51F4-7F75-767A-C8B7365B3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443" y="3713394"/>
              <a:ext cx="674146" cy="32812"/>
            </a:xfrm>
            <a:custGeom>
              <a:avLst/>
              <a:gdLst>
                <a:gd name="T0" fmla="*/ 452 w 452"/>
                <a:gd name="T1" fmla="*/ 22 h 22"/>
                <a:gd name="T2" fmla="*/ 418 w 452"/>
                <a:gd name="T3" fmla="*/ 0 h 22"/>
                <a:gd name="T4" fmla="*/ 418 w 452"/>
                <a:gd name="T5" fmla="*/ 0 h 22"/>
                <a:gd name="T6" fmla="*/ 0 w 452"/>
                <a:gd name="T7" fmla="*/ 0 h 22"/>
                <a:gd name="T8" fmla="*/ 0 w 452"/>
                <a:gd name="T9" fmla="*/ 22 h 22"/>
                <a:gd name="T10" fmla="*/ 437 w 452"/>
                <a:gd name="T11" fmla="*/ 22 h 22"/>
                <a:gd name="T12" fmla="*/ 437 w 452"/>
                <a:gd name="T13" fmla="*/ 22 h 22"/>
                <a:gd name="T14" fmla="*/ 452 w 45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22">
                  <a:moveTo>
                    <a:pt x="452" y="22"/>
                  </a:moveTo>
                  <a:lnTo>
                    <a:pt x="418" y="0"/>
                  </a:lnTo>
                  <a:lnTo>
                    <a:pt x="418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437" y="22"/>
                  </a:lnTo>
                  <a:lnTo>
                    <a:pt x="437" y="22"/>
                  </a:lnTo>
                  <a:lnTo>
                    <a:pt x="45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Freeform 16">
            <a:extLst>
              <a:ext uri="{FF2B5EF4-FFF2-40B4-BE49-F238E27FC236}">
                <a16:creationId xmlns:a16="http://schemas.microsoft.com/office/drawing/2014/main" id="{11AEA51C-92B6-3BBE-59B6-446EA7A72DCC}"/>
              </a:ext>
            </a:extLst>
          </p:cNvPr>
          <p:cNvSpPr>
            <a:spLocks/>
          </p:cNvSpPr>
          <p:nvPr/>
        </p:nvSpPr>
        <p:spPr bwMode="auto">
          <a:xfrm>
            <a:off x="5392078" y="3191184"/>
            <a:ext cx="2450492" cy="1897155"/>
          </a:xfrm>
          <a:custGeom>
            <a:avLst/>
            <a:gdLst>
              <a:gd name="T0" fmla="*/ 356 w 527"/>
              <a:gd name="T1" fmla="*/ 146 h 408"/>
              <a:gd name="T2" fmla="*/ 66 w 527"/>
              <a:gd name="T3" fmla="*/ 408 h 408"/>
              <a:gd name="T4" fmla="*/ 72 w 527"/>
              <a:gd name="T5" fmla="*/ 330 h 408"/>
              <a:gd name="T6" fmla="*/ 0 w 527"/>
              <a:gd name="T7" fmla="*/ 331 h 408"/>
              <a:gd name="T8" fmla="*/ 312 w 527"/>
              <a:gd name="T9" fmla="*/ 69 h 408"/>
              <a:gd name="T10" fmla="*/ 527 w 527"/>
              <a:gd name="T11" fmla="*/ 0 h 408"/>
              <a:gd name="T12" fmla="*/ 527 w 527"/>
              <a:gd name="T13" fmla="*/ 50 h 408"/>
              <a:gd name="T14" fmla="*/ 356 w 527"/>
              <a:gd name="T15" fmla="*/ 146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7" h="408">
                <a:moveTo>
                  <a:pt x="356" y="146"/>
                </a:moveTo>
                <a:cubicBezTo>
                  <a:pt x="66" y="408"/>
                  <a:pt x="66" y="408"/>
                  <a:pt x="66" y="408"/>
                </a:cubicBezTo>
                <a:cubicBezTo>
                  <a:pt x="72" y="330"/>
                  <a:pt x="72" y="330"/>
                  <a:pt x="72" y="330"/>
                </a:cubicBezTo>
                <a:cubicBezTo>
                  <a:pt x="0" y="331"/>
                  <a:pt x="0" y="331"/>
                  <a:pt x="0" y="331"/>
                </a:cubicBezTo>
                <a:cubicBezTo>
                  <a:pt x="312" y="69"/>
                  <a:pt x="312" y="69"/>
                  <a:pt x="312" y="69"/>
                </a:cubicBezTo>
                <a:cubicBezTo>
                  <a:pt x="364" y="27"/>
                  <a:pt x="413" y="0"/>
                  <a:pt x="527" y="0"/>
                </a:cubicBezTo>
                <a:cubicBezTo>
                  <a:pt x="527" y="50"/>
                  <a:pt x="527" y="50"/>
                  <a:pt x="527" y="50"/>
                </a:cubicBezTo>
                <a:cubicBezTo>
                  <a:pt x="469" y="55"/>
                  <a:pt x="396" y="105"/>
                  <a:pt x="356" y="146"/>
                </a:cubicBezTo>
                <a:close/>
              </a:path>
            </a:pathLst>
          </a:custGeom>
          <a:solidFill>
            <a:srgbClr val="009A44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F664B3C8-A030-82D0-1B58-BEA0C68F34C3}"/>
              </a:ext>
            </a:extLst>
          </p:cNvPr>
          <p:cNvSpPr>
            <a:spLocks/>
          </p:cNvSpPr>
          <p:nvPr/>
        </p:nvSpPr>
        <p:spPr bwMode="auto">
          <a:xfrm>
            <a:off x="5392078" y="1525208"/>
            <a:ext cx="2450492" cy="1898647"/>
          </a:xfrm>
          <a:custGeom>
            <a:avLst/>
            <a:gdLst>
              <a:gd name="T0" fmla="*/ 356 w 527"/>
              <a:gd name="T1" fmla="*/ 262 h 408"/>
              <a:gd name="T2" fmla="*/ 66 w 527"/>
              <a:gd name="T3" fmla="*/ 0 h 408"/>
              <a:gd name="T4" fmla="*/ 72 w 527"/>
              <a:gd name="T5" fmla="*/ 78 h 408"/>
              <a:gd name="T6" fmla="*/ 0 w 527"/>
              <a:gd name="T7" fmla="*/ 77 h 408"/>
              <a:gd name="T8" fmla="*/ 312 w 527"/>
              <a:gd name="T9" fmla="*/ 339 h 408"/>
              <a:gd name="T10" fmla="*/ 527 w 527"/>
              <a:gd name="T11" fmla="*/ 408 h 408"/>
              <a:gd name="T12" fmla="*/ 527 w 527"/>
              <a:gd name="T13" fmla="*/ 358 h 408"/>
              <a:gd name="T14" fmla="*/ 356 w 527"/>
              <a:gd name="T15" fmla="*/ 262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7" h="408">
                <a:moveTo>
                  <a:pt x="356" y="262"/>
                </a:moveTo>
                <a:cubicBezTo>
                  <a:pt x="66" y="0"/>
                  <a:pt x="66" y="0"/>
                  <a:pt x="66" y="0"/>
                </a:cubicBezTo>
                <a:cubicBezTo>
                  <a:pt x="72" y="78"/>
                  <a:pt x="72" y="78"/>
                  <a:pt x="72" y="78"/>
                </a:cubicBezTo>
                <a:cubicBezTo>
                  <a:pt x="0" y="77"/>
                  <a:pt x="0" y="77"/>
                  <a:pt x="0" y="77"/>
                </a:cubicBezTo>
                <a:cubicBezTo>
                  <a:pt x="312" y="339"/>
                  <a:pt x="312" y="339"/>
                  <a:pt x="312" y="339"/>
                </a:cubicBezTo>
                <a:cubicBezTo>
                  <a:pt x="364" y="381"/>
                  <a:pt x="413" y="408"/>
                  <a:pt x="527" y="408"/>
                </a:cubicBezTo>
                <a:cubicBezTo>
                  <a:pt x="527" y="358"/>
                  <a:pt x="527" y="358"/>
                  <a:pt x="527" y="358"/>
                </a:cubicBezTo>
                <a:cubicBezTo>
                  <a:pt x="469" y="353"/>
                  <a:pt x="396" y="303"/>
                  <a:pt x="356" y="262"/>
                </a:cubicBezTo>
                <a:close/>
              </a:path>
            </a:pathLst>
          </a:custGeom>
          <a:solidFill>
            <a:schemeClr val="accent1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18">
            <a:extLst>
              <a:ext uri="{FF2B5EF4-FFF2-40B4-BE49-F238E27FC236}">
                <a16:creationId xmlns:a16="http://schemas.microsoft.com/office/drawing/2014/main" id="{840CC50F-5222-2055-80AE-C0EF8659B6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2570" y="3191184"/>
            <a:ext cx="292329" cy="232669"/>
          </a:xfrm>
          <a:prstGeom prst="rect">
            <a:avLst/>
          </a:prstGeom>
          <a:solidFill>
            <a:srgbClr val="53565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20">
            <a:extLst>
              <a:ext uri="{FF2B5EF4-FFF2-40B4-BE49-F238E27FC236}">
                <a16:creationId xmlns:a16="http://schemas.microsoft.com/office/drawing/2014/main" id="{94DE2FB1-9B12-D214-3FD0-9ACD437E85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2896" y="3101696"/>
            <a:ext cx="483237" cy="414628"/>
          </a:xfrm>
          <a:prstGeom prst="rect">
            <a:avLst/>
          </a:prstGeom>
          <a:solidFill>
            <a:srgbClr val="75787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22">
            <a:extLst>
              <a:ext uri="{FF2B5EF4-FFF2-40B4-BE49-F238E27FC236}">
                <a16:creationId xmlns:a16="http://schemas.microsoft.com/office/drawing/2014/main" id="{3E8BAB75-CC9C-CAB2-AE42-B1E3DD34DCF0}"/>
              </a:ext>
            </a:extLst>
          </p:cNvPr>
          <p:cNvSpPr>
            <a:spLocks/>
          </p:cNvSpPr>
          <p:nvPr/>
        </p:nvSpPr>
        <p:spPr bwMode="auto">
          <a:xfrm>
            <a:off x="8706133" y="3101695"/>
            <a:ext cx="87997" cy="414630"/>
          </a:xfrm>
          <a:custGeom>
            <a:avLst/>
            <a:gdLst>
              <a:gd name="T0" fmla="*/ 0 w 59"/>
              <a:gd name="T1" fmla="*/ 278 h 278"/>
              <a:gd name="T2" fmla="*/ 59 w 59"/>
              <a:gd name="T3" fmla="*/ 219 h 278"/>
              <a:gd name="T4" fmla="*/ 59 w 59"/>
              <a:gd name="T5" fmla="*/ 60 h 278"/>
              <a:gd name="T6" fmla="*/ 0 w 59"/>
              <a:gd name="T7" fmla="*/ 0 h 278"/>
              <a:gd name="T8" fmla="*/ 0 w 59"/>
              <a:gd name="T9" fmla="*/ 278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9" h="278">
                <a:moveTo>
                  <a:pt x="0" y="278"/>
                </a:moveTo>
                <a:lnTo>
                  <a:pt x="59" y="219"/>
                </a:lnTo>
                <a:lnTo>
                  <a:pt x="59" y="60"/>
                </a:lnTo>
                <a:lnTo>
                  <a:pt x="0" y="0"/>
                </a:lnTo>
                <a:lnTo>
                  <a:pt x="0" y="278"/>
                </a:lnTo>
                <a:close/>
              </a:path>
            </a:pathLst>
          </a:custGeom>
          <a:solidFill>
            <a:srgbClr val="6366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54676EA5-505E-32F7-2355-2B8FDE272142}"/>
              </a:ext>
            </a:extLst>
          </p:cNvPr>
          <p:cNvSpPr>
            <a:spLocks/>
          </p:cNvSpPr>
          <p:nvPr/>
        </p:nvSpPr>
        <p:spPr bwMode="auto">
          <a:xfrm>
            <a:off x="8134899" y="3101695"/>
            <a:ext cx="87997" cy="414630"/>
          </a:xfrm>
          <a:custGeom>
            <a:avLst/>
            <a:gdLst>
              <a:gd name="T0" fmla="*/ 59 w 59"/>
              <a:gd name="T1" fmla="*/ 0 h 278"/>
              <a:gd name="T2" fmla="*/ 0 w 59"/>
              <a:gd name="T3" fmla="*/ 60 h 278"/>
              <a:gd name="T4" fmla="*/ 0 w 59"/>
              <a:gd name="T5" fmla="*/ 219 h 278"/>
              <a:gd name="T6" fmla="*/ 59 w 59"/>
              <a:gd name="T7" fmla="*/ 278 h 278"/>
              <a:gd name="T8" fmla="*/ 59 w 59"/>
              <a:gd name="T9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9" h="278">
                <a:moveTo>
                  <a:pt x="59" y="0"/>
                </a:moveTo>
                <a:lnTo>
                  <a:pt x="0" y="60"/>
                </a:lnTo>
                <a:lnTo>
                  <a:pt x="0" y="219"/>
                </a:lnTo>
                <a:lnTo>
                  <a:pt x="59" y="278"/>
                </a:lnTo>
                <a:lnTo>
                  <a:pt x="59" y="0"/>
                </a:lnTo>
                <a:close/>
              </a:path>
            </a:pathLst>
          </a:custGeom>
          <a:solidFill>
            <a:srgbClr val="6366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C7DBFF03-1A30-BB52-7832-2D66229B60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2570" y="3191183"/>
            <a:ext cx="37287" cy="232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34A0163-66CC-0233-071D-DD7502F3960D}"/>
              </a:ext>
            </a:extLst>
          </p:cNvPr>
          <p:cNvSpPr/>
          <p:nvPr/>
        </p:nvSpPr>
        <p:spPr>
          <a:xfrm rot="2480149">
            <a:off x="5210526" y="2187666"/>
            <a:ext cx="210942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          Top 3 Models Performe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89B538A-D682-C414-0422-DA62DC4F9F6D}"/>
              </a:ext>
            </a:extLst>
          </p:cNvPr>
          <p:cNvSpPr/>
          <p:nvPr/>
        </p:nvSpPr>
        <p:spPr>
          <a:xfrm>
            <a:off x="4726301" y="3157790"/>
            <a:ext cx="1173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uccess Criteri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0CFFF74-4124-AC27-27E2-1B07521E5D2D}"/>
              </a:ext>
            </a:extLst>
          </p:cNvPr>
          <p:cNvSpPr/>
          <p:nvPr/>
        </p:nvSpPr>
        <p:spPr>
          <a:xfrm rot="19185495">
            <a:off x="6171801" y="3972558"/>
            <a:ext cx="5815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Resul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8406A2F-39D6-AB59-220E-633ADAA1CDC1}"/>
              </a:ext>
            </a:extLst>
          </p:cNvPr>
          <p:cNvSpPr/>
          <p:nvPr/>
        </p:nvSpPr>
        <p:spPr>
          <a:xfrm>
            <a:off x="785102" y="1494283"/>
            <a:ext cx="4109992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400"/>
              <a:t>Deep Neural Network, Decision Tree, and Random Fores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CD86FD4-1AA4-378E-3644-FCA8A3B94B53}"/>
              </a:ext>
            </a:extLst>
          </p:cNvPr>
          <p:cNvSpPr/>
          <p:nvPr/>
        </p:nvSpPr>
        <p:spPr>
          <a:xfrm>
            <a:off x="1338290" y="3092075"/>
            <a:ext cx="23840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400"/>
              <a:t>Accuracy compared to the baseline model and the f1 scor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F87659F-1D6B-E7F2-D73C-E66F34C93B3D}"/>
              </a:ext>
            </a:extLst>
          </p:cNvPr>
          <p:cNvSpPr/>
          <p:nvPr/>
        </p:nvSpPr>
        <p:spPr>
          <a:xfrm>
            <a:off x="1311574" y="5004061"/>
            <a:ext cx="363935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400">
                <a:cs typeface="Calibri"/>
              </a:rPr>
              <a:t>Accuracy, f1 score, solid precision and recall</a:t>
            </a:r>
          </a:p>
        </p:txBody>
      </p:sp>
      <p:grpSp>
        <p:nvGrpSpPr>
          <p:cNvPr id="50" name="General_Fill_58">
            <a:extLst>
              <a:ext uri="{FF2B5EF4-FFF2-40B4-BE49-F238E27FC236}">
                <a16:creationId xmlns:a16="http://schemas.microsoft.com/office/drawing/2014/main" id="{6B2DE57E-7CCA-BAC1-6C4A-70B68D86B5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87383" y="1366987"/>
            <a:ext cx="482600" cy="482599"/>
            <a:chOff x="6303" y="3281"/>
            <a:chExt cx="340" cy="340"/>
          </a:xfrm>
          <a:solidFill>
            <a:schemeClr val="accent2"/>
          </a:solidFill>
        </p:grpSpPr>
        <p:sp>
          <p:nvSpPr>
            <p:cNvPr id="51" name="Freeform 772">
              <a:extLst>
                <a:ext uri="{FF2B5EF4-FFF2-40B4-BE49-F238E27FC236}">
                  <a16:creationId xmlns:a16="http://schemas.microsoft.com/office/drawing/2014/main" id="{BE3A1F8A-D9CA-8793-4C47-86624B8BB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" y="3387"/>
              <a:ext cx="160" cy="149"/>
            </a:xfrm>
            <a:custGeom>
              <a:avLst/>
              <a:gdLst>
                <a:gd name="T0" fmla="*/ 105 w 240"/>
                <a:gd name="T1" fmla="*/ 87 h 224"/>
                <a:gd name="T2" fmla="*/ 109 w 240"/>
                <a:gd name="T3" fmla="*/ 96 h 224"/>
                <a:gd name="T4" fmla="*/ 109 w 240"/>
                <a:gd name="T5" fmla="*/ 224 h 224"/>
                <a:gd name="T6" fmla="*/ 130 w 240"/>
                <a:gd name="T7" fmla="*/ 208 h 224"/>
                <a:gd name="T8" fmla="*/ 130 w 240"/>
                <a:gd name="T9" fmla="*/ 96 h 224"/>
                <a:gd name="T10" fmla="*/ 134 w 240"/>
                <a:gd name="T11" fmla="*/ 87 h 224"/>
                <a:gd name="T12" fmla="*/ 240 w 240"/>
                <a:gd name="T13" fmla="*/ 0 h 224"/>
                <a:gd name="T14" fmla="*/ 0 w 240"/>
                <a:gd name="T15" fmla="*/ 0 h 224"/>
                <a:gd name="T16" fmla="*/ 105 w 240"/>
                <a:gd name="T17" fmla="*/ 8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224">
                  <a:moveTo>
                    <a:pt x="105" y="87"/>
                  </a:moveTo>
                  <a:cubicBezTo>
                    <a:pt x="108" y="90"/>
                    <a:pt x="109" y="93"/>
                    <a:pt x="109" y="96"/>
                  </a:cubicBezTo>
                  <a:cubicBezTo>
                    <a:pt x="109" y="224"/>
                    <a:pt x="109" y="224"/>
                    <a:pt x="109" y="224"/>
                  </a:cubicBezTo>
                  <a:cubicBezTo>
                    <a:pt x="130" y="208"/>
                    <a:pt x="130" y="208"/>
                    <a:pt x="130" y="208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0" y="93"/>
                    <a:pt x="132" y="90"/>
                    <a:pt x="134" y="87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5" y="8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" name="Freeform 773">
              <a:extLst>
                <a:ext uri="{FF2B5EF4-FFF2-40B4-BE49-F238E27FC236}">
                  <a16:creationId xmlns:a16="http://schemas.microsoft.com/office/drawing/2014/main" id="{367A4FEC-FD1E-7641-8BDF-96A5B07CE0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3" y="328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2 w 512"/>
                <a:gd name="T11" fmla="*/ 157 h 512"/>
                <a:gd name="T12" fmla="*/ 288 w 512"/>
                <a:gd name="T13" fmla="*/ 261 h 512"/>
                <a:gd name="T14" fmla="*/ 288 w 512"/>
                <a:gd name="T15" fmla="*/ 373 h 512"/>
                <a:gd name="T16" fmla="*/ 283 w 512"/>
                <a:gd name="T17" fmla="*/ 382 h 512"/>
                <a:gd name="T18" fmla="*/ 241 w 512"/>
                <a:gd name="T19" fmla="*/ 414 h 512"/>
                <a:gd name="T20" fmla="*/ 234 w 512"/>
                <a:gd name="T21" fmla="*/ 416 h 512"/>
                <a:gd name="T22" fmla="*/ 230 w 512"/>
                <a:gd name="T23" fmla="*/ 415 h 512"/>
                <a:gd name="T24" fmla="*/ 224 w 512"/>
                <a:gd name="T25" fmla="*/ 405 h 512"/>
                <a:gd name="T26" fmla="*/ 224 w 512"/>
                <a:gd name="T27" fmla="*/ 261 h 512"/>
                <a:gd name="T28" fmla="*/ 100 w 512"/>
                <a:gd name="T29" fmla="*/ 157 h 512"/>
                <a:gd name="T30" fmla="*/ 96 w 512"/>
                <a:gd name="T31" fmla="*/ 145 h 512"/>
                <a:gd name="T32" fmla="*/ 106 w 512"/>
                <a:gd name="T33" fmla="*/ 138 h 512"/>
                <a:gd name="T34" fmla="*/ 405 w 512"/>
                <a:gd name="T35" fmla="*/ 138 h 512"/>
                <a:gd name="T36" fmla="*/ 415 w 512"/>
                <a:gd name="T37" fmla="*/ 145 h 512"/>
                <a:gd name="T38" fmla="*/ 412 w 512"/>
                <a:gd name="T39" fmla="*/ 15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2" y="157"/>
                  </a:moveTo>
                  <a:cubicBezTo>
                    <a:pt x="288" y="261"/>
                    <a:pt x="288" y="261"/>
                    <a:pt x="288" y="261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288" y="376"/>
                    <a:pt x="286" y="380"/>
                    <a:pt x="283" y="382"/>
                  </a:cubicBezTo>
                  <a:cubicBezTo>
                    <a:pt x="241" y="414"/>
                    <a:pt x="241" y="414"/>
                    <a:pt x="241" y="414"/>
                  </a:cubicBezTo>
                  <a:cubicBezTo>
                    <a:pt x="239" y="415"/>
                    <a:pt x="237" y="416"/>
                    <a:pt x="234" y="416"/>
                  </a:cubicBezTo>
                  <a:cubicBezTo>
                    <a:pt x="233" y="416"/>
                    <a:pt x="231" y="415"/>
                    <a:pt x="230" y="415"/>
                  </a:cubicBezTo>
                  <a:cubicBezTo>
                    <a:pt x="226" y="413"/>
                    <a:pt x="224" y="409"/>
                    <a:pt x="224" y="405"/>
                  </a:cubicBezTo>
                  <a:cubicBezTo>
                    <a:pt x="224" y="261"/>
                    <a:pt x="224" y="261"/>
                    <a:pt x="224" y="261"/>
                  </a:cubicBezTo>
                  <a:cubicBezTo>
                    <a:pt x="100" y="157"/>
                    <a:pt x="100" y="157"/>
                    <a:pt x="100" y="157"/>
                  </a:cubicBezTo>
                  <a:cubicBezTo>
                    <a:pt x="96" y="154"/>
                    <a:pt x="95" y="150"/>
                    <a:pt x="96" y="145"/>
                  </a:cubicBezTo>
                  <a:cubicBezTo>
                    <a:pt x="98" y="141"/>
                    <a:pt x="102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09" y="138"/>
                    <a:pt x="414" y="141"/>
                    <a:pt x="415" y="145"/>
                  </a:cubicBezTo>
                  <a:cubicBezTo>
                    <a:pt x="417" y="150"/>
                    <a:pt x="415" y="154"/>
                    <a:pt x="412" y="1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53" name="General_Fill_29">
            <a:extLst>
              <a:ext uri="{FF2B5EF4-FFF2-40B4-BE49-F238E27FC236}">
                <a16:creationId xmlns:a16="http://schemas.microsoft.com/office/drawing/2014/main" id="{CE883E16-E09E-1CE9-A339-F62B567F6AE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18983" y="3068796"/>
            <a:ext cx="482600" cy="482600"/>
          </a:xfrm>
          <a:custGeom>
            <a:avLst/>
            <a:gdLst>
              <a:gd name="T0" fmla="*/ 266 w 512"/>
              <a:gd name="T1" fmla="*/ 384 h 512"/>
              <a:gd name="T2" fmla="*/ 256 w 512"/>
              <a:gd name="T3" fmla="*/ 394 h 512"/>
              <a:gd name="T4" fmla="*/ 245 w 512"/>
              <a:gd name="T5" fmla="*/ 384 h 512"/>
              <a:gd name="T6" fmla="*/ 256 w 512"/>
              <a:gd name="T7" fmla="*/ 373 h 512"/>
              <a:gd name="T8" fmla="*/ 266 w 512"/>
              <a:gd name="T9" fmla="*/ 384 h 512"/>
              <a:gd name="T10" fmla="*/ 244 w 512"/>
              <a:gd name="T11" fmla="*/ 309 h 512"/>
              <a:gd name="T12" fmla="*/ 267 w 512"/>
              <a:gd name="T13" fmla="*/ 309 h 512"/>
              <a:gd name="T14" fmla="*/ 276 w 512"/>
              <a:gd name="T15" fmla="*/ 117 h 512"/>
              <a:gd name="T16" fmla="*/ 235 w 512"/>
              <a:gd name="T17" fmla="*/ 117 h 512"/>
              <a:gd name="T18" fmla="*/ 244 w 512"/>
              <a:gd name="T19" fmla="*/ 309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88 w 512"/>
              <a:gd name="T31" fmla="*/ 384 h 512"/>
              <a:gd name="T32" fmla="*/ 256 w 512"/>
              <a:gd name="T33" fmla="*/ 352 h 512"/>
              <a:gd name="T34" fmla="*/ 224 w 512"/>
              <a:gd name="T35" fmla="*/ 384 h 512"/>
              <a:gd name="T36" fmla="*/ 256 w 512"/>
              <a:gd name="T37" fmla="*/ 416 h 512"/>
              <a:gd name="T38" fmla="*/ 288 w 512"/>
              <a:gd name="T39" fmla="*/ 384 h 512"/>
              <a:gd name="T40" fmla="*/ 298 w 512"/>
              <a:gd name="T41" fmla="*/ 107 h 512"/>
              <a:gd name="T42" fmla="*/ 288 w 512"/>
              <a:gd name="T43" fmla="*/ 96 h 512"/>
              <a:gd name="T44" fmla="*/ 288 w 512"/>
              <a:gd name="T45" fmla="*/ 96 h 512"/>
              <a:gd name="T46" fmla="*/ 224 w 512"/>
              <a:gd name="T47" fmla="*/ 96 h 512"/>
              <a:gd name="T48" fmla="*/ 223 w 512"/>
              <a:gd name="T49" fmla="*/ 96 h 512"/>
              <a:gd name="T50" fmla="*/ 213 w 512"/>
              <a:gd name="T51" fmla="*/ 107 h 512"/>
              <a:gd name="T52" fmla="*/ 224 w 512"/>
              <a:gd name="T53" fmla="*/ 320 h 512"/>
              <a:gd name="T54" fmla="*/ 234 w 512"/>
              <a:gd name="T55" fmla="*/ 330 h 512"/>
              <a:gd name="T56" fmla="*/ 234 w 512"/>
              <a:gd name="T57" fmla="*/ 330 h 512"/>
              <a:gd name="T58" fmla="*/ 235 w 512"/>
              <a:gd name="T59" fmla="*/ 330 h 512"/>
              <a:gd name="T60" fmla="*/ 276 w 512"/>
              <a:gd name="T61" fmla="*/ 330 h 512"/>
              <a:gd name="T62" fmla="*/ 277 w 512"/>
              <a:gd name="T63" fmla="*/ 330 h 512"/>
              <a:gd name="T64" fmla="*/ 277 w 512"/>
              <a:gd name="T65" fmla="*/ 330 h 512"/>
              <a:gd name="T66" fmla="*/ 288 w 512"/>
              <a:gd name="T67" fmla="*/ 320 h 512"/>
              <a:gd name="T68" fmla="*/ 298 w 512"/>
              <a:gd name="T69" fmla="*/ 1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66" y="384"/>
                </a:moveTo>
                <a:cubicBezTo>
                  <a:pt x="266" y="390"/>
                  <a:pt x="262" y="394"/>
                  <a:pt x="256" y="394"/>
                </a:cubicBezTo>
                <a:cubicBezTo>
                  <a:pt x="250" y="394"/>
                  <a:pt x="245" y="390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lose/>
                <a:moveTo>
                  <a:pt x="244" y="309"/>
                </a:moveTo>
                <a:cubicBezTo>
                  <a:pt x="267" y="309"/>
                  <a:pt x="267" y="309"/>
                  <a:pt x="267" y="309"/>
                </a:cubicBezTo>
                <a:cubicBezTo>
                  <a:pt x="276" y="117"/>
                  <a:pt x="276" y="117"/>
                  <a:pt x="276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44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384"/>
                </a:moveTo>
                <a:cubicBezTo>
                  <a:pt x="288" y="366"/>
                  <a:pt x="273" y="352"/>
                  <a:pt x="256" y="352"/>
                </a:cubicBezTo>
                <a:cubicBezTo>
                  <a:pt x="238" y="352"/>
                  <a:pt x="224" y="366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lose/>
                <a:moveTo>
                  <a:pt x="298" y="107"/>
                </a:moveTo>
                <a:cubicBezTo>
                  <a:pt x="299" y="101"/>
                  <a:pt x="294" y="96"/>
                  <a:pt x="288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96"/>
                  <a:pt x="223" y="96"/>
                  <a:pt x="223" y="96"/>
                </a:cubicBezTo>
                <a:cubicBezTo>
                  <a:pt x="217" y="96"/>
                  <a:pt x="213" y="101"/>
                  <a:pt x="213" y="107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24" y="326"/>
                  <a:pt x="229" y="330"/>
                  <a:pt x="23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35" y="330"/>
                  <a:pt x="235" y="330"/>
                  <a:pt x="235" y="330"/>
                </a:cubicBezTo>
                <a:cubicBezTo>
                  <a:pt x="276" y="330"/>
                  <a:pt x="276" y="330"/>
                  <a:pt x="276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83" y="330"/>
                  <a:pt x="287" y="326"/>
                  <a:pt x="288" y="320"/>
                </a:cubicBezTo>
                <a:lnTo>
                  <a:pt x="298" y="10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54" name="General_Fill_60">
            <a:extLst>
              <a:ext uri="{FF2B5EF4-FFF2-40B4-BE49-F238E27FC236}">
                <a16:creationId xmlns:a16="http://schemas.microsoft.com/office/drawing/2014/main" id="{ECA13050-24FE-507D-7815-23E5DF456ED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87383" y="4795996"/>
            <a:ext cx="482600" cy="4826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4 w 512"/>
              <a:gd name="T11" fmla="*/ 384 h 512"/>
              <a:gd name="T12" fmla="*/ 384 w 512"/>
              <a:gd name="T13" fmla="*/ 394 h 512"/>
              <a:gd name="T14" fmla="*/ 128 w 512"/>
              <a:gd name="T15" fmla="*/ 394 h 512"/>
              <a:gd name="T16" fmla="*/ 117 w 512"/>
              <a:gd name="T17" fmla="*/ 384 h 512"/>
              <a:gd name="T18" fmla="*/ 117 w 512"/>
              <a:gd name="T19" fmla="*/ 128 h 512"/>
              <a:gd name="T20" fmla="*/ 128 w 512"/>
              <a:gd name="T21" fmla="*/ 117 h 512"/>
              <a:gd name="T22" fmla="*/ 181 w 512"/>
              <a:gd name="T23" fmla="*/ 117 h 512"/>
              <a:gd name="T24" fmla="*/ 181 w 512"/>
              <a:gd name="T25" fmla="*/ 106 h 512"/>
              <a:gd name="T26" fmla="*/ 192 w 512"/>
              <a:gd name="T27" fmla="*/ 96 h 512"/>
              <a:gd name="T28" fmla="*/ 202 w 512"/>
              <a:gd name="T29" fmla="*/ 106 h 512"/>
              <a:gd name="T30" fmla="*/ 202 w 512"/>
              <a:gd name="T31" fmla="*/ 117 h 512"/>
              <a:gd name="T32" fmla="*/ 309 w 512"/>
              <a:gd name="T33" fmla="*/ 117 h 512"/>
              <a:gd name="T34" fmla="*/ 309 w 512"/>
              <a:gd name="T35" fmla="*/ 106 h 512"/>
              <a:gd name="T36" fmla="*/ 320 w 512"/>
              <a:gd name="T37" fmla="*/ 96 h 512"/>
              <a:gd name="T38" fmla="*/ 330 w 512"/>
              <a:gd name="T39" fmla="*/ 106 h 512"/>
              <a:gd name="T40" fmla="*/ 330 w 512"/>
              <a:gd name="T41" fmla="*/ 117 h 512"/>
              <a:gd name="T42" fmla="*/ 384 w 512"/>
              <a:gd name="T43" fmla="*/ 117 h 512"/>
              <a:gd name="T44" fmla="*/ 394 w 512"/>
              <a:gd name="T45" fmla="*/ 128 h 512"/>
              <a:gd name="T46" fmla="*/ 394 w 512"/>
              <a:gd name="T47" fmla="*/ 384 h 512"/>
              <a:gd name="T48" fmla="*/ 330 w 512"/>
              <a:gd name="T49" fmla="*/ 149 h 512"/>
              <a:gd name="T50" fmla="*/ 320 w 512"/>
              <a:gd name="T51" fmla="*/ 160 h 512"/>
              <a:gd name="T52" fmla="*/ 309 w 512"/>
              <a:gd name="T53" fmla="*/ 149 h 512"/>
              <a:gd name="T54" fmla="*/ 309 w 512"/>
              <a:gd name="T55" fmla="*/ 138 h 512"/>
              <a:gd name="T56" fmla="*/ 202 w 512"/>
              <a:gd name="T57" fmla="*/ 138 h 512"/>
              <a:gd name="T58" fmla="*/ 202 w 512"/>
              <a:gd name="T59" fmla="*/ 149 h 512"/>
              <a:gd name="T60" fmla="*/ 192 w 512"/>
              <a:gd name="T61" fmla="*/ 160 h 512"/>
              <a:gd name="T62" fmla="*/ 181 w 512"/>
              <a:gd name="T63" fmla="*/ 149 h 512"/>
              <a:gd name="T64" fmla="*/ 181 w 512"/>
              <a:gd name="T65" fmla="*/ 138 h 512"/>
              <a:gd name="T66" fmla="*/ 138 w 512"/>
              <a:gd name="T67" fmla="*/ 138 h 512"/>
              <a:gd name="T68" fmla="*/ 138 w 512"/>
              <a:gd name="T69" fmla="*/ 373 h 512"/>
              <a:gd name="T70" fmla="*/ 373 w 512"/>
              <a:gd name="T71" fmla="*/ 373 h 512"/>
              <a:gd name="T72" fmla="*/ 373 w 512"/>
              <a:gd name="T73" fmla="*/ 138 h 512"/>
              <a:gd name="T74" fmla="*/ 330 w 512"/>
              <a:gd name="T75" fmla="*/ 138 h 512"/>
              <a:gd name="T76" fmla="*/ 330 w 512"/>
              <a:gd name="T77" fmla="*/ 149 h 512"/>
              <a:gd name="T78" fmla="*/ 327 w 512"/>
              <a:gd name="T79" fmla="*/ 221 h 512"/>
              <a:gd name="T80" fmla="*/ 242 w 512"/>
              <a:gd name="T81" fmla="*/ 306 h 512"/>
              <a:gd name="T82" fmla="*/ 234 w 512"/>
              <a:gd name="T83" fmla="*/ 309 h 512"/>
              <a:gd name="T84" fmla="*/ 227 w 512"/>
              <a:gd name="T85" fmla="*/ 306 h 512"/>
              <a:gd name="T86" fmla="*/ 184 w 512"/>
              <a:gd name="T87" fmla="*/ 263 h 512"/>
              <a:gd name="T88" fmla="*/ 184 w 512"/>
              <a:gd name="T89" fmla="*/ 248 h 512"/>
              <a:gd name="T90" fmla="*/ 199 w 512"/>
              <a:gd name="T91" fmla="*/ 248 h 512"/>
              <a:gd name="T92" fmla="*/ 234 w 512"/>
              <a:gd name="T93" fmla="*/ 283 h 512"/>
              <a:gd name="T94" fmla="*/ 312 w 512"/>
              <a:gd name="T95" fmla="*/ 205 h 512"/>
              <a:gd name="T96" fmla="*/ 327 w 512"/>
              <a:gd name="T97" fmla="*/ 205 h 512"/>
              <a:gd name="T98" fmla="*/ 327 w 512"/>
              <a:gd name="T99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198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14" y="96"/>
                  <a:pt x="320" y="96"/>
                </a:cubicBezTo>
                <a:cubicBezTo>
                  <a:pt x="326" y="96"/>
                  <a:pt x="330" y="100"/>
                  <a:pt x="330" y="106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90" y="117"/>
                  <a:pt x="394" y="122"/>
                  <a:pt x="394" y="128"/>
                </a:cubicBezTo>
                <a:lnTo>
                  <a:pt x="394" y="384"/>
                </a:lnTo>
                <a:close/>
                <a:moveTo>
                  <a:pt x="330" y="149"/>
                </a:moveTo>
                <a:cubicBezTo>
                  <a:pt x="330" y="155"/>
                  <a:pt x="326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86" y="160"/>
                  <a:pt x="181" y="155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149"/>
                </a:lnTo>
                <a:close/>
                <a:moveTo>
                  <a:pt x="327" y="221"/>
                </a:moveTo>
                <a:cubicBezTo>
                  <a:pt x="242" y="306"/>
                  <a:pt x="242" y="306"/>
                  <a:pt x="242" y="306"/>
                </a:cubicBezTo>
                <a:cubicBezTo>
                  <a:pt x="240" y="308"/>
                  <a:pt x="237" y="309"/>
                  <a:pt x="234" y="309"/>
                </a:cubicBezTo>
                <a:cubicBezTo>
                  <a:pt x="232" y="309"/>
                  <a:pt x="229" y="308"/>
                  <a:pt x="227" y="306"/>
                </a:cubicBezTo>
                <a:cubicBezTo>
                  <a:pt x="184" y="263"/>
                  <a:pt x="184" y="263"/>
                  <a:pt x="184" y="263"/>
                </a:cubicBezTo>
                <a:cubicBezTo>
                  <a:pt x="180" y="259"/>
                  <a:pt x="180" y="252"/>
                  <a:pt x="184" y="248"/>
                </a:cubicBezTo>
                <a:cubicBezTo>
                  <a:pt x="188" y="244"/>
                  <a:pt x="195" y="244"/>
                  <a:pt x="199" y="248"/>
                </a:cubicBezTo>
                <a:cubicBezTo>
                  <a:pt x="234" y="283"/>
                  <a:pt x="234" y="283"/>
                  <a:pt x="234" y="283"/>
                </a:cubicBezTo>
                <a:cubicBezTo>
                  <a:pt x="312" y="205"/>
                  <a:pt x="312" y="205"/>
                  <a:pt x="312" y="205"/>
                </a:cubicBezTo>
                <a:cubicBezTo>
                  <a:pt x="316" y="201"/>
                  <a:pt x="323" y="201"/>
                  <a:pt x="327" y="205"/>
                </a:cubicBezTo>
                <a:cubicBezTo>
                  <a:pt x="331" y="210"/>
                  <a:pt x="331" y="216"/>
                  <a:pt x="327" y="22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114F5EB-080B-9CEF-5B69-0008778F1D1B}"/>
              </a:ext>
            </a:extLst>
          </p:cNvPr>
          <p:cNvSpPr/>
          <p:nvPr/>
        </p:nvSpPr>
        <p:spPr>
          <a:xfrm>
            <a:off x="8548260" y="5074283"/>
            <a:ext cx="318634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400"/>
              <a:t> </a:t>
            </a:r>
            <a:r>
              <a:rPr lang="en-US" sz="1400" b="1"/>
              <a:t>Random Forest </a:t>
            </a:r>
            <a:r>
              <a:rPr lang="en-US" sz="1400"/>
              <a:t>model stands as a powerful tool for Toyota</a:t>
            </a:r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B3FC628-6F98-6947-8337-2805608F73F0}"/>
              </a:ext>
            </a:extLst>
          </p:cNvPr>
          <p:cNvSpPr txBox="1"/>
          <p:nvPr/>
        </p:nvSpPr>
        <p:spPr>
          <a:xfrm>
            <a:off x="8704467" y="1366224"/>
            <a:ext cx="2566823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900" b="1">
                <a:solidFill>
                  <a:srgbClr val="313131"/>
                </a:solidFill>
              </a:rPr>
              <a:t>Recommendation</a:t>
            </a:r>
          </a:p>
        </p:txBody>
      </p:sp>
    </p:spTree>
    <p:extLst>
      <p:ext uri="{BB962C8B-B14F-4D97-AF65-F5344CB8AC3E}">
        <p14:creationId xmlns:p14="http://schemas.microsoft.com/office/powerpoint/2010/main" val="40602618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63361E-815A-77E7-98F0-1D216B96F3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876706-73C7-5B77-113D-D94D3C43C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2DE6B0-C2D6-D199-60D5-0A5A82FB37FD}"/>
              </a:ext>
            </a:extLst>
          </p:cNvPr>
          <p:cNvSpPr txBox="1"/>
          <p:nvPr/>
        </p:nvSpPr>
        <p:spPr>
          <a:xfrm>
            <a:off x="2749550" y="3194050"/>
            <a:ext cx="657225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4000">
                <a:solidFill>
                  <a:srgbClr val="313131"/>
                </a:solidFill>
              </a:rPr>
              <a:t>Graveyard</a:t>
            </a:r>
          </a:p>
        </p:txBody>
      </p:sp>
    </p:spTree>
    <p:extLst>
      <p:ext uri="{BB962C8B-B14F-4D97-AF65-F5344CB8AC3E}">
        <p14:creationId xmlns:p14="http://schemas.microsoft.com/office/powerpoint/2010/main" val="264032453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15"/>
          <p:cNvSpPr>
            <a:spLocks noEditPoints="1"/>
          </p:cNvSpPr>
          <p:nvPr/>
        </p:nvSpPr>
        <p:spPr bwMode="auto">
          <a:xfrm>
            <a:off x="5046336" y="3221745"/>
            <a:ext cx="984763" cy="979258"/>
          </a:xfrm>
          <a:custGeom>
            <a:avLst/>
            <a:gdLst>
              <a:gd name="T0" fmla="*/ 592 w 605"/>
              <a:gd name="T1" fmla="*/ 213 h 602"/>
              <a:gd name="T2" fmla="*/ 544 w 605"/>
              <a:gd name="T3" fmla="*/ 119 h 602"/>
              <a:gd name="T4" fmla="*/ 467 w 605"/>
              <a:gd name="T5" fmla="*/ 47 h 602"/>
              <a:gd name="T6" fmla="*/ 371 w 605"/>
              <a:gd name="T7" fmla="*/ 6 h 602"/>
              <a:gd name="T8" fmla="*/ 266 w 605"/>
              <a:gd name="T9" fmla="*/ 0 h 602"/>
              <a:gd name="T10" fmla="*/ 165 w 605"/>
              <a:gd name="T11" fmla="*/ 31 h 602"/>
              <a:gd name="T12" fmla="*/ 81 w 605"/>
              <a:gd name="T13" fmla="*/ 94 h 602"/>
              <a:gd name="T14" fmla="*/ 23 w 605"/>
              <a:gd name="T15" fmla="*/ 183 h 602"/>
              <a:gd name="T16" fmla="*/ 0 w 605"/>
              <a:gd name="T17" fmla="*/ 285 h 602"/>
              <a:gd name="T18" fmla="*/ 0 w 605"/>
              <a:gd name="T19" fmla="*/ 317 h 602"/>
              <a:gd name="T20" fmla="*/ 23 w 605"/>
              <a:gd name="T21" fmla="*/ 420 h 602"/>
              <a:gd name="T22" fmla="*/ 81 w 605"/>
              <a:gd name="T23" fmla="*/ 508 h 602"/>
              <a:gd name="T24" fmla="*/ 165 w 605"/>
              <a:gd name="T25" fmla="*/ 571 h 602"/>
              <a:gd name="T26" fmla="*/ 266 w 605"/>
              <a:gd name="T27" fmla="*/ 602 h 602"/>
              <a:gd name="T28" fmla="*/ 371 w 605"/>
              <a:gd name="T29" fmla="*/ 597 h 602"/>
              <a:gd name="T30" fmla="*/ 467 w 605"/>
              <a:gd name="T31" fmla="*/ 555 h 602"/>
              <a:gd name="T32" fmla="*/ 544 w 605"/>
              <a:gd name="T33" fmla="*/ 484 h 602"/>
              <a:gd name="T34" fmla="*/ 592 w 605"/>
              <a:gd name="T35" fmla="*/ 390 h 602"/>
              <a:gd name="T36" fmla="*/ 336 w 605"/>
              <a:gd name="T37" fmla="*/ 100 h 602"/>
              <a:gd name="T38" fmla="*/ 336 w 605"/>
              <a:gd name="T39" fmla="*/ 100 h 602"/>
              <a:gd name="T40" fmla="*/ 388 w 605"/>
              <a:gd name="T41" fmla="*/ 235 h 602"/>
              <a:gd name="T42" fmla="*/ 366 w 605"/>
              <a:gd name="T43" fmla="*/ 377 h 602"/>
              <a:gd name="T44" fmla="*/ 388 w 605"/>
              <a:gd name="T45" fmla="*/ 251 h 602"/>
              <a:gd name="T46" fmla="*/ 407 w 605"/>
              <a:gd name="T47" fmla="*/ 271 h 602"/>
              <a:gd name="T48" fmla="*/ 407 w 605"/>
              <a:gd name="T49" fmla="*/ 271 h 602"/>
              <a:gd name="T50" fmla="*/ 383 w 605"/>
              <a:gd name="T51" fmla="*/ 359 h 602"/>
              <a:gd name="T52" fmla="*/ 408 w 605"/>
              <a:gd name="T53" fmla="*/ 328 h 602"/>
              <a:gd name="T54" fmla="*/ 401 w 605"/>
              <a:gd name="T55" fmla="*/ 301 h 602"/>
              <a:gd name="T56" fmla="*/ 410 w 605"/>
              <a:gd name="T57" fmla="*/ 315 h 602"/>
              <a:gd name="T58" fmla="*/ 353 w 605"/>
              <a:gd name="T59" fmla="*/ 216 h 602"/>
              <a:gd name="T60" fmla="*/ 346 w 605"/>
              <a:gd name="T61" fmla="*/ 201 h 602"/>
              <a:gd name="T62" fmla="*/ 306 w 605"/>
              <a:gd name="T63" fmla="*/ 192 h 602"/>
              <a:gd name="T64" fmla="*/ 306 w 605"/>
              <a:gd name="T65" fmla="*/ 192 h 602"/>
              <a:gd name="T66" fmla="*/ 302 w 605"/>
              <a:gd name="T67" fmla="*/ 231 h 602"/>
              <a:gd name="T68" fmla="*/ 345 w 605"/>
              <a:gd name="T69" fmla="*/ 391 h 602"/>
              <a:gd name="T70" fmla="*/ 257 w 605"/>
              <a:gd name="T71" fmla="*/ 400 h 602"/>
              <a:gd name="T72" fmla="*/ 206 w 605"/>
              <a:gd name="T73" fmla="*/ 278 h 602"/>
              <a:gd name="T74" fmla="*/ 206 w 605"/>
              <a:gd name="T75" fmla="*/ 278 h 602"/>
              <a:gd name="T76" fmla="*/ 209 w 605"/>
              <a:gd name="T77" fmla="*/ 267 h 602"/>
              <a:gd name="T78" fmla="*/ 194 w 605"/>
              <a:gd name="T79" fmla="*/ 317 h 602"/>
              <a:gd name="T80" fmla="*/ 211 w 605"/>
              <a:gd name="T81" fmla="*/ 339 h 602"/>
              <a:gd name="T82" fmla="*/ 216 w 605"/>
              <a:gd name="T83" fmla="*/ 350 h 602"/>
              <a:gd name="T84" fmla="*/ 216 w 605"/>
              <a:gd name="T85" fmla="*/ 350 h 602"/>
              <a:gd name="T86" fmla="*/ 229 w 605"/>
              <a:gd name="T87" fmla="*/ 235 h 602"/>
              <a:gd name="T88" fmla="*/ 234 w 605"/>
              <a:gd name="T89" fmla="*/ 386 h 602"/>
              <a:gd name="T90" fmla="*/ 242 w 605"/>
              <a:gd name="T91" fmla="*/ 211 h 602"/>
              <a:gd name="T92" fmla="*/ 293 w 605"/>
              <a:gd name="T93" fmla="*/ 193 h 602"/>
              <a:gd name="T94" fmla="*/ 293 w 605"/>
              <a:gd name="T95" fmla="*/ 193 h 602"/>
              <a:gd name="T96" fmla="*/ 269 w 605"/>
              <a:gd name="T97" fmla="*/ 208 h 602"/>
              <a:gd name="T98" fmla="*/ 210 w 605"/>
              <a:gd name="T99" fmla="*/ 210 h 602"/>
              <a:gd name="T100" fmla="*/ 99 w 605"/>
              <a:gd name="T101" fmla="*/ 301 h 602"/>
              <a:gd name="T102" fmla="*/ 177 w 605"/>
              <a:gd name="T103" fmla="*/ 335 h 602"/>
              <a:gd name="T104" fmla="*/ 210 w 605"/>
              <a:gd name="T105" fmla="*/ 393 h 602"/>
              <a:gd name="T106" fmla="*/ 270 w 605"/>
              <a:gd name="T107" fmla="*/ 405 h 602"/>
              <a:gd name="T108" fmla="*/ 302 w 605"/>
              <a:gd name="T109" fmla="*/ 410 h 602"/>
              <a:gd name="T110" fmla="*/ 310 w 605"/>
              <a:gd name="T111" fmla="*/ 410 h 602"/>
              <a:gd name="T112" fmla="*/ 337 w 605"/>
              <a:gd name="T113" fmla="*/ 405 h 602"/>
              <a:gd name="T114" fmla="*/ 336 w 605"/>
              <a:gd name="T115" fmla="*/ 427 h 602"/>
              <a:gd name="T116" fmla="*/ 493 w 605"/>
              <a:gd name="T117" fmla="*/ 373 h 602"/>
              <a:gd name="T118" fmla="*/ 493 w 605"/>
              <a:gd name="T119" fmla="*/ 23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05" h="602">
                <a:moveTo>
                  <a:pt x="557" y="301"/>
                </a:moveTo>
                <a:cubicBezTo>
                  <a:pt x="557" y="299"/>
                  <a:pt x="557" y="296"/>
                  <a:pt x="557" y="294"/>
                </a:cubicBezTo>
                <a:cubicBezTo>
                  <a:pt x="605" y="285"/>
                  <a:pt x="605" y="285"/>
                  <a:pt x="605" y="285"/>
                </a:cubicBezTo>
                <a:cubicBezTo>
                  <a:pt x="592" y="213"/>
                  <a:pt x="592" y="213"/>
                  <a:pt x="592" y="213"/>
                </a:cubicBezTo>
                <a:cubicBezTo>
                  <a:pt x="544" y="221"/>
                  <a:pt x="544" y="221"/>
                  <a:pt x="544" y="221"/>
                </a:cubicBezTo>
                <a:cubicBezTo>
                  <a:pt x="543" y="216"/>
                  <a:pt x="541" y="212"/>
                  <a:pt x="539" y="207"/>
                </a:cubicBezTo>
                <a:cubicBezTo>
                  <a:pt x="581" y="183"/>
                  <a:pt x="581" y="183"/>
                  <a:pt x="581" y="183"/>
                </a:cubicBezTo>
                <a:cubicBezTo>
                  <a:pt x="544" y="119"/>
                  <a:pt x="544" y="119"/>
                  <a:pt x="544" y="119"/>
                </a:cubicBezTo>
                <a:cubicBezTo>
                  <a:pt x="502" y="143"/>
                  <a:pt x="502" y="143"/>
                  <a:pt x="502" y="143"/>
                </a:cubicBezTo>
                <a:cubicBezTo>
                  <a:pt x="499" y="139"/>
                  <a:pt x="496" y="135"/>
                  <a:pt x="493" y="132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467" y="47"/>
                  <a:pt x="467" y="47"/>
                  <a:pt x="467" y="47"/>
                </a:cubicBezTo>
                <a:cubicBezTo>
                  <a:pt x="436" y="84"/>
                  <a:pt x="436" y="84"/>
                  <a:pt x="436" y="84"/>
                </a:cubicBezTo>
                <a:cubicBezTo>
                  <a:pt x="432" y="82"/>
                  <a:pt x="428" y="79"/>
                  <a:pt x="423" y="77"/>
                </a:cubicBezTo>
                <a:cubicBezTo>
                  <a:pt x="440" y="31"/>
                  <a:pt x="440" y="31"/>
                  <a:pt x="440" y="31"/>
                </a:cubicBezTo>
                <a:cubicBezTo>
                  <a:pt x="371" y="6"/>
                  <a:pt x="371" y="6"/>
                  <a:pt x="371" y="6"/>
                </a:cubicBezTo>
                <a:cubicBezTo>
                  <a:pt x="354" y="52"/>
                  <a:pt x="354" y="52"/>
                  <a:pt x="354" y="52"/>
                </a:cubicBezTo>
                <a:cubicBezTo>
                  <a:pt x="349" y="51"/>
                  <a:pt x="344" y="50"/>
                  <a:pt x="339" y="49"/>
                </a:cubicBezTo>
                <a:cubicBezTo>
                  <a:pt x="339" y="0"/>
                  <a:pt x="339" y="0"/>
                  <a:pt x="339" y="0"/>
                </a:cubicBezTo>
                <a:cubicBezTo>
                  <a:pt x="266" y="0"/>
                  <a:pt x="266" y="0"/>
                  <a:pt x="266" y="0"/>
                </a:cubicBezTo>
                <a:cubicBezTo>
                  <a:pt x="266" y="49"/>
                  <a:pt x="266" y="49"/>
                  <a:pt x="266" y="49"/>
                </a:cubicBezTo>
                <a:cubicBezTo>
                  <a:pt x="260" y="50"/>
                  <a:pt x="255" y="51"/>
                  <a:pt x="250" y="52"/>
                </a:cubicBezTo>
                <a:cubicBezTo>
                  <a:pt x="234" y="6"/>
                  <a:pt x="234" y="6"/>
                  <a:pt x="234" y="6"/>
                </a:cubicBezTo>
                <a:cubicBezTo>
                  <a:pt x="165" y="31"/>
                  <a:pt x="165" y="31"/>
                  <a:pt x="165" y="31"/>
                </a:cubicBezTo>
                <a:cubicBezTo>
                  <a:pt x="181" y="77"/>
                  <a:pt x="181" y="77"/>
                  <a:pt x="181" y="77"/>
                </a:cubicBezTo>
                <a:cubicBezTo>
                  <a:pt x="177" y="79"/>
                  <a:pt x="173" y="82"/>
                  <a:pt x="168" y="84"/>
                </a:cubicBezTo>
                <a:cubicBezTo>
                  <a:pt x="137" y="47"/>
                  <a:pt x="137" y="47"/>
                  <a:pt x="137" y="47"/>
                </a:cubicBezTo>
                <a:cubicBezTo>
                  <a:pt x="81" y="94"/>
                  <a:pt x="81" y="94"/>
                  <a:pt x="81" y="94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109" y="135"/>
                  <a:pt x="105" y="139"/>
                  <a:pt x="102" y="143"/>
                </a:cubicBezTo>
                <a:cubicBezTo>
                  <a:pt x="60" y="119"/>
                  <a:pt x="60" y="119"/>
                  <a:pt x="60" y="119"/>
                </a:cubicBezTo>
                <a:cubicBezTo>
                  <a:pt x="23" y="183"/>
                  <a:pt x="23" y="183"/>
                  <a:pt x="23" y="183"/>
                </a:cubicBezTo>
                <a:cubicBezTo>
                  <a:pt x="65" y="207"/>
                  <a:pt x="65" y="207"/>
                  <a:pt x="65" y="207"/>
                </a:cubicBezTo>
                <a:cubicBezTo>
                  <a:pt x="64" y="212"/>
                  <a:pt x="62" y="216"/>
                  <a:pt x="60" y="221"/>
                </a:cubicBezTo>
                <a:cubicBezTo>
                  <a:pt x="12" y="213"/>
                  <a:pt x="12" y="213"/>
                  <a:pt x="12" y="213"/>
                </a:cubicBezTo>
                <a:cubicBezTo>
                  <a:pt x="0" y="285"/>
                  <a:pt x="0" y="285"/>
                  <a:pt x="0" y="285"/>
                </a:cubicBezTo>
                <a:cubicBezTo>
                  <a:pt x="48" y="294"/>
                  <a:pt x="48" y="294"/>
                  <a:pt x="48" y="294"/>
                </a:cubicBezTo>
                <a:cubicBezTo>
                  <a:pt x="47" y="296"/>
                  <a:pt x="47" y="299"/>
                  <a:pt x="47" y="301"/>
                </a:cubicBezTo>
                <a:cubicBezTo>
                  <a:pt x="47" y="304"/>
                  <a:pt x="47" y="306"/>
                  <a:pt x="48" y="309"/>
                </a:cubicBezTo>
                <a:cubicBezTo>
                  <a:pt x="0" y="317"/>
                  <a:pt x="0" y="317"/>
                  <a:pt x="0" y="317"/>
                </a:cubicBezTo>
                <a:cubicBezTo>
                  <a:pt x="12" y="390"/>
                  <a:pt x="12" y="390"/>
                  <a:pt x="12" y="390"/>
                </a:cubicBezTo>
                <a:cubicBezTo>
                  <a:pt x="60" y="381"/>
                  <a:pt x="60" y="381"/>
                  <a:pt x="60" y="381"/>
                </a:cubicBezTo>
                <a:cubicBezTo>
                  <a:pt x="62" y="386"/>
                  <a:pt x="64" y="391"/>
                  <a:pt x="65" y="396"/>
                </a:cubicBezTo>
                <a:cubicBezTo>
                  <a:pt x="23" y="420"/>
                  <a:pt x="23" y="420"/>
                  <a:pt x="23" y="420"/>
                </a:cubicBezTo>
                <a:cubicBezTo>
                  <a:pt x="60" y="484"/>
                  <a:pt x="60" y="484"/>
                  <a:pt x="60" y="484"/>
                </a:cubicBezTo>
                <a:cubicBezTo>
                  <a:pt x="102" y="459"/>
                  <a:pt x="102" y="459"/>
                  <a:pt x="102" y="459"/>
                </a:cubicBezTo>
                <a:cubicBezTo>
                  <a:pt x="105" y="463"/>
                  <a:pt x="109" y="467"/>
                  <a:pt x="112" y="471"/>
                </a:cubicBezTo>
                <a:cubicBezTo>
                  <a:pt x="81" y="508"/>
                  <a:pt x="81" y="508"/>
                  <a:pt x="81" y="508"/>
                </a:cubicBezTo>
                <a:cubicBezTo>
                  <a:pt x="137" y="555"/>
                  <a:pt x="137" y="555"/>
                  <a:pt x="137" y="555"/>
                </a:cubicBezTo>
                <a:cubicBezTo>
                  <a:pt x="168" y="518"/>
                  <a:pt x="168" y="518"/>
                  <a:pt x="168" y="518"/>
                </a:cubicBezTo>
                <a:cubicBezTo>
                  <a:pt x="173" y="521"/>
                  <a:pt x="177" y="523"/>
                  <a:pt x="181" y="526"/>
                </a:cubicBezTo>
                <a:cubicBezTo>
                  <a:pt x="165" y="571"/>
                  <a:pt x="165" y="571"/>
                  <a:pt x="165" y="571"/>
                </a:cubicBezTo>
                <a:cubicBezTo>
                  <a:pt x="234" y="597"/>
                  <a:pt x="234" y="597"/>
                  <a:pt x="234" y="597"/>
                </a:cubicBezTo>
                <a:cubicBezTo>
                  <a:pt x="250" y="551"/>
                  <a:pt x="250" y="551"/>
                  <a:pt x="250" y="551"/>
                </a:cubicBezTo>
                <a:cubicBezTo>
                  <a:pt x="255" y="552"/>
                  <a:pt x="260" y="553"/>
                  <a:pt x="266" y="554"/>
                </a:cubicBezTo>
                <a:cubicBezTo>
                  <a:pt x="266" y="602"/>
                  <a:pt x="266" y="602"/>
                  <a:pt x="266" y="602"/>
                </a:cubicBezTo>
                <a:cubicBezTo>
                  <a:pt x="339" y="602"/>
                  <a:pt x="339" y="602"/>
                  <a:pt x="339" y="602"/>
                </a:cubicBezTo>
                <a:cubicBezTo>
                  <a:pt x="339" y="554"/>
                  <a:pt x="339" y="554"/>
                  <a:pt x="339" y="554"/>
                </a:cubicBezTo>
                <a:cubicBezTo>
                  <a:pt x="344" y="553"/>
                  <a:pt x="349" y="552"/>
                  <a:pt x="354" y="551"/>
                </a:cubicBezTo>
                <a:cubicBezTo>
                  <a:pt x="371" y="597"/>
                  <a:pt x="371" y="597"/>
                  <a:pt x="371" y="597"/>
                </a:cubicBezTo>
                <a:cubicBezTo>
                  <a:pt x="440" y="571"/>
                  <a:pt x="440" y="571"/>
                  <a:pt x="440" y="571"/>
                </a:cubicBezTo>
                <a:cubicBezTo>
                  <a:pt x="423" y="526"/>
                  <a:pt x="423" y="526"/>
                  <a:pt x="423" y="526"/>
                </a:cubicBezTo>
                <a:cubicBezTo>
                  <a:pt x="428" y="523"/>
                  <a:pt x="432" y="521"/>
                  <a:pt x="436" y="518"/>
                </a:cubicBezTo>
                <a:cubicBezTo>
                  <a:pt x="467" y="555"/>
                  <a:pt x="467" y="555"/>
                  <a:pt x="467" y="555"/>
                </a:cubicBezTo>
                <a:cubicBezTo>
                  <a:pt x="524" y="508"/>
                  <a:pt x="524" y="508"/>
                  <a:pt x="524" y="508"/>
                </a:cubicBezTo>
                <a:cubicBezTo>
                  <a:pt x="493" y="471"/>
                  <a:pt x="493" y="471"/>
                  <a:pt x="493" y="471"/>
                </a:cubicBezTo>
                <a:cubicBezTo>
                  <a:pt x="496" y="467"/>
                  <a:pt x="499" y="463"/>
                  <a:pt x="502" y="459"/>
                </a:cubicBezTo>
                <a:cubicBezTo>
                  <a:pt x="544" y="484"/>
                  <a:pt x="544" y="484"/>
                  <a:pt x="544" y="484"/>
                </a:cubicBezTo>
                <a:cubicBezTo>
                  <a:pt x="581" y="420"/>
                  <a:pt x="581" y="420"/>
                  <a:pt x="581" y="420"/>
                </a:cubicBezTo>
                <a:cubicBezTo>
                  <a:pt x="539" y="396"/>
                  <a:pt x="539" y="396"/>
                  <a:pt x="539" y="396"/>
                </a:cubicBezTo>
                <a:cubicBezTo>
                  <a:pt x="541" y="391"/>
                  <a:pt x="543" y="386"/>
                  <a:pt x="544" y="381"/>
                </a:cubicBezTo>
                <a:cubicBezTo>
                  <a:pt x="592" y="390"/>
                  <a:pt x="592" y="390"/>
                  <a:pt x="592" y="390"/>
                </a:cubicBezTo>
                <a:cubicBezTo>
                  <a:pt x="605" y="317"/>
                  <a:pt x="605" y="317"/>
                  <a:pt x="605" y="317"/>
                </a:cubicBezTo>
                <a:cubicBezTo>
                  <a:pt x="557" y="309"/>
                  <a:pt x="557" y="309"/>
                  <a:pt x="557" y="309"/>
                </a:cubicBezTo>
                <a:cubicBezTo>
                  <a:pt x="557" y="306"/>
                  <a:pt x="557" y="304"/>
                  <a:pt x="557" y="301"/>
                </a:cubicBezTo>
                <a:close/>
                <a:moveTo>
                  <a:pt x="336" y="100"/>
                </a:moveTo>
                <a:cubicBezTo>
                  <a:pt x="385" y="109"/>
                  <a:pt x="429" y="135"/>
                  <a:pt x="459" y="172"/>
                </a:cubicBezTo>
                <a:cubicBezTo>
                  <a:pt x="394" y="210"/>
                  <a:pt x="394" y="210"/>
                  <a:pt x="394" y="210"/>
                </a:cubicBezTo>
                <a:cubicBezTo>
                  <a:pt x="378" y="194"/>
                  <a:pt x="358" y="182"/>
                  <a:pt x="336" y="176"/>
                </a:cubicBezTo>
                <a:lnTo>
                  <a:pt x="336" y="100"/>
                </a:lnTo>
                <a:close/>
                <a:moveTo>
                  <a:pt x="381" y="241"/>
                </a:moveTo>
                <a:cubicBezTo>
                  <a:pt x="378" y="237"/>
                  <a:pt x="375" y="234"/>
                  <a:pt x="372" y="231"/>
                </a:cubicBezTo>
                <a:cubicBezTo>
                  <a:pt x="379" y="224"/>
                  <a:pt x="379" y="224"/>
                  <a:pt x="379" y="224"/>
                </a:cubicBezTo>
                <a:cubicBezTo>
                  <a:pt x="383" y="228"/>
                  <a:pt x="386" y="231"/>
                  <a:pt x="388" y="235"/>
                </a:cubicBezTo>
                <a:lnTo>
                  <a:pt x="381" y="241"/>
                </a:lnTo>
                <a:close/>
                <a:moveTo>
                  <a:pt x="382" y="376"/>
                </a:moveTo>
                <a:cubicBezTo>
                  <a:pt x="379" y="379"/>
                  <a:pt x="376" y="382"/>
                  <a:pt x="372" y="385"/>
                </a:cubicBezTo>
                <a:cubicBezTo>
                  <a:pt x="366" y="377"/>
                  <a:pt x="366" y="377"/>
                  <a:pt x="366" y="377"/>
                </a:cubicBezTo>
                <a:cubicBezTo>
                  <a:pt x="369" y="375"/>
                  <a:pt x="372" y="372"/>
                  <a:pt x="375" y="369"/>
                </a:cubicBezTo>
                <a:lnTo>
                  <a:pt x="382" y="376"/>
                </a:lnTo>
                <a:close/>
                <a:moveTo>
                  <a:pt x="393" y="262"/>
                </a:moveTo>
                <a:cubicBezTo>
                  <a:pt x="392" y="258"/>
                  <a:pt x="390" y="254"/>
                  <a:pt x="388" y="251"/>
                </a:cubicBezTo>
                <a:cubicBezTo>
                  <a:pt x="396" y="246"/>
                  <a:pt x="396" y="246"/>
                  <a:pt x="396" y="246"/>
                </a:cubicBezTo>
                <a:cubicBezTo>
                  <a:pt x="398" y="250"/>
                  <a:pt x="400" y="254"/>
                  <a:pt x="402" y="258"/>
                </a:cubicBezTo>
                <a:lnTo>
                  <a:pt x="393" y="262"/>
                </a:lnTo>
                <a:close/>
                <a:moveTo>
                  <a:pt x="407" y="271"/>
                </a:moveTo>
                <a:cubicBezTo>
                  <a:pt x="408" y="275"/>
                  <a:pt x="409" y="280"/>
                  <a:pt x="410" y="284"/>
                </a:cubicBezTo>
                <a:cubicBezTo>
                  <a:pt x="400" y="286"/>
                  <a:pt x="400" y="286"/>
                  <a:pt x="400" y="286"/>
                </a:cubicBezTo>
                <a:cubicBezTo>
                  <a:pt x="400" y="281"/>
                  <a:pt x="399" y="277"/>
                  <a:pt x="397" y="273"/>
                </a:cubicBezTo>
                <a:lnTo>
                  <a:pt x="407" y="271"/>
                </a:lnTo>
                <a:close/>
                <a:moveTo>
                  <a:pt x="389" y="349"/>
                </a:moveTo>
                <a:cubicBezTo>
                  <a:pt x="398" y="354"/>
                  <a:pt x="398" y="354"/>
                  <a:pt x="398" y="354"/>
                </a:cubicBezTo>
                <a:cubicBezTo>
                  <a:pt x="396" y="357"/>
                  <a:pt x="393" y="361"/>
                  <a:pt x="391" y="365"/>
                </a:cubicBezTo>
                <a:cubicBezTo>
                  <a:pt x="383" y="359"/>
                  <a:pt x="383" y="359"/>
                  <a:pt x="383" y="359"/>
                </a:cubicBezTo>
                <a:cubicBezTo>
                  <a:pt x="385" y="356"/>
                  <a:pt x="387" y="352"/>
                  <a:pt x="389" y="349"/>
                </a:cubicBezTo>
                <a:close/>
                <a:moveTo>
                  <a:pt x="395" y="338"/>
                </a:moveTo>
                <a:cubicBezTo>
                  <a:pt x="396" y="334"/>
                  <a:pt x="397" y="330"/>
                  <a:pt x="398" y="326"/>
                </a:cubicBezTo>
                <a:cubicBezTo>
                  <a:pt x="408" y="328"/>
                  <a:pt x="408" y="328"/>
                  <a:pt x="408" y="328"/>
                </a:cubicBezTo>
                <a:cubicBezTo>
                  <a:pt x="407" y="333"/>
                  <a:pt x="405" y="337"/>
                  <a:pt x="404" y="341"/>
                </a:cubicBezTo>
                <a:lnTo>
                  <a:pt x="395" y="338"/>
                </a:lnTo>
                <a:close/>
                <a:moveTo>
                  <a:pt x="401" y="314"/>
                </a:moveTo>
                <a:cubicBezTo>
                  <a:pt x="401" y="310"/>
                  <a:pt x="401" y="305"/>
                  <a:pt x="401" y="301"/>
                </a:cubicBezTo>
                <a:cubicBezTo>
                  <a:pt x="401" y="300"/>
                  <a:pt x="401" y="299"/>
                  <a:pt x="401" y="298"/>
                </a:cubicBezTo>
                <a:cubicBezTo>
                  <a:pt x="411" y="298"/>
                  <a:pt x="411" y="298"/>
                  <a:pt x="411" y="298"/>
                </a:cubicBezTo>
                <a:cubicBezTo>
                  <a:pt x="411" y="299"/>
                  <a:pt x="411" y="300"/>
                  <a:pt x="411" y="301"/>
                </a:cubicBezTo>
                <a:cubicBezTo>
                  <a:pt x="411" y="306"/>
                  <a:pt x="411" y="310"/>
                  <a:pt x="410" y="315"/>
                </a:cubicBezTo>
                <a:lnTo>
                  <a:pt x="401" y="314"/>
                </a:lnTo>
                <a:close/>
                <a:moveTo>
                  <a:pt x="369" y="215"/>
                </a:moveTo>
                <a:cubicBezTo>
                  <a:pt x="363" y="223"/>
                  <a:pt x="363" y="223"/>
                  <a:pt x="363" y="223"/>
                </a:cubicBezTo>
                <a:cubicBezTo>
                  <a:pt x="360" y="221"/>
                  <a:pt x="356" y="218"/>
                  <a:pt x="353" y="216"/>
                </a:cubicBezTo>
                <a:cubicBezTo>
                  <a:pt x="358" y="208"/>
                  <a:pt x="358" y="208"/>
                  <a:pt x="358" y="208"/>
                </a:cubicBezTo>
                <a:cubicBezTo>
                  <a:pt x="362" y="210"/>
                  <a:pt x="366" y="213"/>
                  <a:pt x="369" y="215"/>
                </a:cubicBezTo>
                <a:close/>
                <a:moveTo>
                  <a:pt x="333" y="197"/>
                </a:moveTo>
                <a:cubicBezTo>
                  <a:pt x="337" y="198"/>
                  <a:pt x="342" y="200"/>
                  <a:pt x="346" y="201"/>
                </a:cubicBezTo>
                <a:cubicBezTo>
                  <a:pt x="342" y="210"/>
                  <a:pt x="342" y="210"/>
                  <a:pt x="342" y="210"/>
                </a:cubicBezTo>
                <a:cubicBezTo>
                  <a:pt x="338" y="209"/>
                  <a:pt x="334" y="207"/>
                  <a:pt x="330" y="206"/>
                </a:cubicBezTo>
                <a:lnTo>
                  <a:pt x="333" y="197"/>
                </a:lnTo>
                <a:close/>
                <a:moveTo>
                  <a:pt x="306" y="192"/>
                </a:moveTo>
                <a:cubicBezTo>
                  <a:pt x="311" y="193"/>
                  <a:pt x="315" y="193"/>
                  <a:pt x="320" y="194"/>
                </a:cubicBezTo>
                <a:cubicBezTo>
                  <a:pt x="318" y="203"/>
                  <a:pt x="318" y="203"/>
                  <a:pt x="318" y="203"/>
                </a:cubicBezTo>
                <a:cubicBezTo>
                  <a:pt x="314" y="203"/>
                  <a:pt x="310" y="202"/>
                  <a:pt x="306" y="202"/>
                </a:cubicBezTo>
                <a:lnTo>
                  <a:pt x="306" y="192"/>
                </a:lnTo>
                <a:close/>
                <a:moveTo>
                  <a:pt x="373" y="301"/>
                </a:moveTo>
                <a:cubicBezTo>
                  <a:pt x="373" y="340"/>
                  <a:pt x="341" y="372"/>
                  <a:pt x="302" y="372"/>
                </a:cubicBezTo>
                <a:cubicBezTo>
                  <a:pt x="263" y="372"/>
                  <a:pt x="232" y="340"/>
                  <a:pt x="232" y="301"/>
                </a:cubicBezTo>
                <a:cubicBezTo>
                  <a:pt x="232" y="262"/>
                  <a:pt x="263" y="231"/>
                  <a:pt x="302" y="231"/>
                </a:cubicBezTo>
                <a:cubicBezTo>
                  <a:pt x="341" y="231"/>
                  <a:pt x="373" y="262"/>
                  <a:pt x="373" y="301"/>
                </a:cubicBezTo>
                <a:close/>
                <a:moveTo>
                  <a:pt x="361" y="393"/>
                </a:moveTo>
                <a:cubicBezTo>
                  <a:pt x="357" y="395"/>
                  <a:pt x="353" y="398"/>
                  <a:pt x="349" y="400"/>
                </a:cubicBezTo>
                <a:cubicBezTo>
                  <a:pt x="345" y="391"/>
                  <a:pt x="345" y="391"/>
                  <a:pt x="345" y="391"/>
                </a:cubicBezTo>
                <a:cubicBezTo>
                  <a:pt x="349" y="389"/>
                  <a:pt x="352" y="387"/>
                  <a:pt x="356" y="385"/>
                </a:cubicBezTo>
                <a:lnTo>
                  <a:pt x="361" y="393"/>
                </a:lnTo>
                <a:close/>
                <a:moveTo>
                  <a:pt x="261" y="391"/>
                </a:moveTo>
                <a:cubicBezTo>
                  <a:pt x="257" y="400"/>
                  <a:pt x="257" y="400"/>
                  <a:pt x="257" y="400"/>
                </a:cubicBezTo>
                <a:cubicBezTo>
                  <a:pt x="253" y="398"/>
                  <a:pt x="249" y="396"/>
                  <a:pt x="245" y="394"/>
                </a:cubicBezTo>
                <a:cubicBezTo>
                  <a:pt x="250" y="386"/>
                  <a:pt x="250" y="386"/>
                  <a:pt x="250" y="386"/>
                </a:cubicBezTo>
                <a:cubicBezTo>
                  <a:pt x="254" y="388"/>
                  <a:pt x="257" y="390"/>
                  <a:pt x="261" y="391"/>
                </a:cubicBezTo>
                <a:close/>
                <a:moveTo>
                  <a:pt x="206" y="278"/>
                </a:moveTo>
                <a:cubicBezTo>
                  <a:pt x="205" y="282"/>
                  <a:pt x="204" y="287"/>
                  <a:pt x="204" y="291"/>
                </a:cubicBezTo>
                <a:cubicBezTo>
                  <a:pt x="194" y="290"/>
                  <a:pt x="194" y="290"/>
                  <a:pt x="194" y="290"/>
                </a:cubicBezTo>
                <a:cubicBezTo>
                  <a:pt x="194" y="285"/>
                  <a:pt x="195" y="281"/>
                  <a:pt x="196" y="276"/>
                </a:cubicBezTo>
                <a:lnTo>
                  <a:pt x="206" y="278"/>
                </a:lnTo>
                <a:close/>
                <a:moveTo>
                  <a:pt x="200" y="263"/>
                </a:moveTo>
                <a:cubicBezTo>
                  <a:pt x="202" y="259"/>
                  <a:pt x="204" y="255"/>
                  <a:pt x="206" y="251"/>
                </a:cubicBezTo>
                <a:cubicBezTo>
                  <a:pt x="214" y="255"/>
                  <a:pt x="214" y="255"/>
                  <a:pt x="214" y="255"/>
                </a:cubicBezTo>
                <a:cubicBezTo>
                  <a:pt x="212" y="259"/>
                  <a:pt x="211" y="263"/>
                  <a:pt x="209" y="267"/>
                </a:cubicBezTo>
                <a:lnTo>
                  <a:pt x="200" y="263"/>
                </a:lnTo>
                <a:close/>
                <a:moveTo>
                  <a:pt x="203" y="303"/>
                </a:moveTo>
                <a:cubicBezTo>
                  <a:pt x="203" y="307"/>
                  <a:pt x="204" y="311"/>
                  <a:pt x="204" y="315"/>
                </a:cubicBezTo>
                <a:cubicBezTo>
                  <a:pt x="194" y="317"/>
                  <a:pt x="194" y="317"/>
                  <a:pt x="194" y="317"/>
                </a:cubicBezTo>
                <a:cubicBezTo>
                  <a:pt x="194" y="312"/>
                  <a:pt x="193" y="308"/>
                  <a:pt x="193" y="303"/>
                </a:cubicBezTo>
                <a:lnTo>
                  <a:pt x="203" y="303"/>
                </a:lnTo>
                <a:close/>
                <a:moveTo>
                  <a:pt x="207" y="327"/>
                </a:moveTo>
                <a:cubicBezTo>
                  <a:pt x="208" y="331"/>
                  <a:pt x="209" y="335"/>
                  <a:pt x="211" y="339"/>
                </a:cubicBezTo>
                <a:cubicBezTo>
                  <a:pt x="202" y="343"/>
                  <a:pt x="202" y="343"/>
                  <a:pt x="202" y="343"/>
                </a:cubicBezTo>
                <a:cubicBezTo>
                  <a:pt x="200" y="339"/>
                  <a:pt x="198" y="334"/>
                  <a:pt x="197" y="330"/>
                </a:cubicBezTo>
                <a:lnTo>
                  <a:pt x="207" y="327"/>
                </a:lnTo>
                <a:close/>
                <a:moveTo>
                  <a:pt x="216" y="350"/>
                </a:moveTo>
                <a:cubicBezTo>
                  <a:pt x="218" y="354"/>
                  <a:pt x="220" y="357"/>
                  <a:pt x="223" y="361"/>
                </a:cubicBezTo>
                <a:cubicBezTo>
                  <a:pt x="215" y="366"/>
                  <a:pt x="215" y="366"/>
                  <a:pt x="215" y="366"/>
                </a:cubicBezTo>
                <a:cubicBezTo>
                  <a:pt x="212" y="363"/>
                  <a:pt x="210" y="359"/>
                  <a:pt x="208" y="355"/>
                </a:cubicBezTo>
                <a:lnTo>
                  <a:pt x="216" y="350"/>
                </a:lnTo>
                <a:close/>
                <a:moveTo>
                  <a:pt x="221" y="245"/>
                </a:moveTo>
                <a:cubicBezTo>
                  <a:pt x="213" y="239"/>
                  <a:pt x="213" y="239"/>
                  <a:pt x="213" y="239"/>
                </a:cubicBezTo>
                <a:cubicBezTo>
                  <a:pt x="215" y="235"/>
                  <a:pt x="218" y="232"/>
                  <a:pt x="221" y="228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6" y="238"/>
                  <a:pt x="223" y="241"/>
                  <a:pt x="221" y="245"/>
                </a:cubicBezTo>
                <a:close/>
                <a:moveTo>
                  <a:pt x="231" y="370"/>
                </a:moveTo>
                <a:cubicBezTo>
                  <a:pt x="234" y="373"/>
                  <a:pt x="237" y="376"/>
                  <a:pt x="240" y="378"/>
                </a:cubicBezTo>
                <a:cubicBezTo>
                  <a:pt x="234" y="386"/>
                  <a:pt x="234" y="386"/>
                  <a:pt x="234" y="386"/>
                </a:cubicBezTo>
                <a:cubicBezTo>
                  <a:pt x="230" y="383"/>
                  <a:pt x="227" y="380"/>
                  <a:pt x="224" y="377"/>
                </a:cubicBezTo>
                <a:lnTo>
                  <a:pt x="231" y="370"/>
                </a:lnTo>
                <a:close/>
                <a:moveTo>
                  <a:pt x="231" y="219"/>
                </a:moveTo>
                <a:cubicBezTo>
                  <a:pt x="234" y="216"/>
                  <a:pt x="238" y="213"/>
                  <a:pt x="242" y="211"/>
                </a:cubicBezTo>
                <a:cubicBezTo>
                  <a:pt x="247" y="219"/>
                  <a:pt x="247" y="219"/>
                  <a:pt x="247" y="219"/>
                </a:cubicBezTo>
                <a:cubicBezTo>
                  <a:pt x="244" y="221"/>
                  <a:pt x="241" y="224"/>
                  <a:pt x="237" y="226"/>
                </a:cubicBezTo>
                <a:lnTo>
                  <a:pt x="231" y="219"/>
                </a:lnTo>
                <a:close/>
                <a:moveTo>
                  <a:pt x="293" y="193"/>
                </a:moveTo>
                <a:cubicBezTo>
                  <a:pt x="294" y="203"/>
                  <a:pt x="294" y="203"/>
                  <a:pt x="294" y="203"/>
                </a:cubicBezTo>
                <a:cubicBezTo>
                  <a:pt x="289" y="203"/>
                  <a:pt x="285" y="203"/>
                  <a:pt x="281" y="204"/>
                </a:cubicBezTo>
                <a:cubicBezTo>
                  <a:pt x="279" y="195"/>
                  <a:pt x="279" y="195"/>
                  <a:pt x="279" y="195"/>
                </a:cubicBezTo>
                <a:cubicBezTo>
                  <a:pt x="284" y="194"/>
                  <a:pt x="288" y="193"/>
                  <a:pt x="293" y="193"/>
                </a:cubicBezTo>
                <a:close/>
                <a:moveTo>
                  <a:pt x="258" y="213"/>
                </a:moveTo>
                <a:cubicBezTo>
                  <a:pt x="254" y="204"/>
                  <a:pt x="254" y="204"/>
                  <a:pt x="254" y="204"/>
                </a:cubicBezTo>
                <a:cubicBezTo>
                  <a:pt x="258" y="202"/>
                  <a:pt x="262" y="200"/>
                  <a:pt x="266" y="199"/>
                </a:cubicBezTo>
                <a:cubicBezTo>
                  <a:pt x="269" y="208"/>
                  <a:pt x="269" y="208"/>
                  <a:pt x="269" y="208"/>
                </a:cubicBezTo>
                <a:cubicBezTo>
                  <a:pt x="265" y="209"/>
                  <a:pt x="262" y="211"/>
                  <a:pt x="258" y="213"/>
                </a:cubicBezTo>
                <a:close/>
                <a:moveTo>
                  <a:pt x="269" y="101"/>
                </a:moveTo>
                <a:cubicBezTo>
                  <a:pt x="269" y="176"/>
                  <a:pt x="269" y="176"/>
                  <a:pt x="269" y="176"/>
                </a:cubicBezTo>
                <a:cubicBezTo>
                  <a:pt x="246" y="182"/>
                  <a:pt x="226" y="194"/>
                  <a:pt x="210" y="210"/>
                </a:cubicBezTo>
                <a:cubicBezTo>
                  <a:pt x="145" y="172"/>
                  <a:pt x="145" y="172"/>
                  <a:pt x="145" y="172"/>
                </a:cubicBezTo>
                <a:cubicBezTo>
                  <a:pt x="176" y="135"/>
                  <a:pt x="219" y="109"/>
                  <a:pt x="269" y="101"/>
                </a:cubicBezTo>
                <a:close/>
                <a:moveTo>
                  <a:pt x="112" y="373"/>
                </a:moveTo>
                <a:cubicBezTo>
                  <a:pt x="103" y="351"/>
                  <a:pt x="99" y="326"/>
                  <a:pt x="99" y="301"/>
                </a:cubicBezTo>
                <a:cubicBezTo>
                  <a:pt x="99" y="276"/>
                  <a:pt x="103" y="252"/>
                  <a:pt x="112" y="230"/>
                </a:cubicBezTo>
                <a:cubicBezTo>
                  <a:pt x="177" y="267"/>
                  <a:pt x="177" y="267"/>
                  <a:pt x="177" y="267"/>
                </a:cubicBezTo>
                <a:cubicBezTo>
                  <a:pt x="174" y="278"/>
                  <a:pt x="172" y="290"/>
                  <a:pt x="172" y="301"/>
                </a:cubicBezTo>
                <a:cubicBezTo>
                  <a:pt x="172" y="313"/>
                  <a:pt x="174" y="324"/>
                  <a:pt x="177" y="335"/>
                </a:cubicBezTo>
                <a:lnTo>
                  <a:pt x="112" y="373"/>
                </a:lnTo>
                <a:close/>
                <a:moveTo>
                  <a:pt x="269" y="502"/>
                </a:moveTo>
                <a:cubicBezTo>
                  <a:pt x="219" y="494"/>
                  <a:pt x="176" y="468"/>
                  <a:pt x="145" y="431"/>
                </a:cubicBezTo>
                <a:cubicBezTo>
                  <a:pt x="210" y="393"/>
                  <a:pt x="210" y="393"/>
                  <a:pt x="210" y="393"/>
                </a:cubicBezTo>
                <a:cubicBezTo>
                  <a:pt x="226" y="409"/>
                  <a:pt x="246" y="421"/>
                  <a:pt x="269" y="427"/>
                </a:cubicBezTo>
                <a:lnTo>
                  <a:pt x="269" y="502"/>
                </a:lnTo>
                <a:close/>
                <a:moveTo>
                  <a:pt x="283" y="408"/>
                </a:moveTo>
                <a:cubicBezTo>
                  <a:pt x="278" y="408"/>
                  <a:pt x="274" y="407"/>
                  <a:pt x="270" y="405"/>
                </a:cubicBezTo>
                <a:cubicBezTo>
                  <a:pt x="273" y="396"/>
                  <a:pt x="273" y="396"/>
                  <a:pt x="273" y="396"/>
                </a:cubicBezTo>
                <a:cubicBezTo>
                  <a:pt x="277" y="397"/>
                  <a:pt x="281" y="398"/>
                  <a:pt x="285" y="399"/>
                </a:cubicBezTo>
                <a:lnTo>
                  <a:pt x="283" y="408"/>
                </a:lnTo>
                <a:close/>
                <a:moveTo>
                  <a:pt x="302" y="410"/>
                </a:moveTo>
                <a:cubicBezTo>
                  <a:pt x="300" y="410"/>
                  <a:pt x="298" y="410"/>
                  <a:pt x="296" y="410"/>
                </a:cubicBezTo>
                <a:cubicBezTo>
                  <a:pt x="297" y="400"/>
                  <a:pt x="297" y="400"/>
                  <a:pt x="297" y="400"/>
                </a:cubicBezTo>
                <a:cubicBezTo>
                  <a:pt x="301" y="401"/>
                  <a:pt x="305" y="400"/>
                  <a:pt x="309" y="400"/>
                </a:cubicBezTo>
                <a:cubicBezTo>
                  <a:pt x="310" y="410"/>
                  <a:pt x="310" y="410"/>
                  <a:pt x="310" y="410"/>
                </a:cubicBezTo>
                <a:cubicBezTo>
                  <a:pt x="307" y="410"/>
                  <a:pt x="305" y="410"/>
                  <a:pt x="302" y="410"/>
                </a:cubicBezTo>
                <a:close/>
                <a:moveTo>
                  <a:pt x="322" y="399"/>
                </a:moveTo>
                <a:cubicBezTo>
                  <a:pt x="326" y="398"/>
                  <a:pt x="330" y="397"/>
                  <a:pt x="334" y="395"/>
                </a:cubicBezTo>
                <a:cubicBezTo>
                  <a:pt x="337" y="405"/>
                  <a:pt x="337" y="405"/>
                  <a:pt x="337" y="405"/>
                </a:cubicBezTo>
                <a:cubicBezTo>
                  <a:pt x="332" y="406"/>
                  <a:pt x="328" y="407"/>
                  <a:pt x="323" y="408"/>
                </a:cubicBezTo>
                <a:lnTo>
                  <a:pt x="322" y="399"/>
                </a:lnTo>
                <a:close/>
                <a:moveTo>
                  <a:pt x="336" y="502"/>
                </a:moveTo>
                <a:cubicBezTo>
                  <a:pt x="336" y="427"/>
                  <a:pt x="336" y="427"/>
                  <a:pt x="336" y="427"/>
                </a:cubicBezTo>
                <a:cubicBezTo>
                  <a:pt x="358" y="421"/>
                  <a:pt x="378" y="409"/>
                  <a:pt x="394" y="393"/>
                </a:cubicBezTo>
                <a:cubicBezTo>
                  <a:pt x="459" y="431"/>
                  <a:pt x="459" y="431"/>
                  <a:pt x="459" y="431"/>
                </a:cubicBezTo>
                <a:cubicBezTo>
                  <a:pt x="429" y="468"/>
                  <a:pt x="385" y="494"/>
                  <a:pt x="336" y="502"/>
                </a:cubicBezTo>
                <a:close/>
                <a:moveTo>
                  <a:pt x="493" y="373"/>
                </a:moveTo>
                <a:cubicBezTo>
                  <a:pt x="428" y="335"/>
                  <a:pt x="428" y="335"/>
                  <a:pt x="428" y="335"/>
                </a:cubicBezTo>
                <a:cubicBezTo>
                  <a:pt x="431" y="324"/>
                  <a:pt x="432" y="313"/>
                  <a:pt x="432" y="301"/>
                </a:cubicBezTo>
                <a:cubicBezTo>
                  <a:pt x="432" y="290"/>
                  <a:pt x="431" y="278"/>
                  <a:pt x="428" y="267"/>
                </a:cubicBezTo>
                <a:cubicBezTo>
                  <a:pt x="493" y="230"/>
                  <a:pt x="493" y="230"/>
                  <a:pt x="493" y="230"/>
                </a:cubicBezTo>
                <a:cubicBezTo>
                  <a:pt x="501" y="252"/>
                  <a:pt x="506" y="276"/>
                  <a:pt x="506" y="301"/>
                </a:cubicBezTo>
                <a:cubicBezTo>
                  <a:pt x="506" y="326"/>
                  <a:pt x="501" y="351"/>
                  <a:pt x="493" y="373"/>
                </a:cubicBezTo>
                <a:close/>
              </a:path>
            </a:pathLst>
          </a:custGeom>
          <a:solidFill>
            <a:srgbClr val="6366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2" name="Freeform 16"/>
          <p:cNvSpPr>
            <a:spLocks noEditPoints="1"/>
          </p:cNvSpPr>
          <p:nvPr/>
        </p:nvSpPr>
        <p:spPr bwMode="auto">
          <a:xfrm>
            <a:off x="4825017" y="2425098"/>
            <a:ext cx="782517" cy="778320"/>
          </a:xfrm>
          <a:custGeom>
            <a:avLst/>
            <a:gdLst>
              <a:gd name="T0" fmla="*/ 351 w 394"/>
              <a:gd name="T1" fmla="*/ 134 h 392"/>
              <a:gd name="T2" fmla="*/ 355 w 394"/>
              <a:gd name="T3" fmla="*/ 77 h 392"/>
              <a:gd name="T4" fmla="*/ 321 w 394"/>
              <a:gd name="T5" fmla="*/ 85 h 392"/>
              <a:gd name="T6" fmla="*/ 305 w 394"/>
              <a:gd name="T7" fmla="*/ 30 h 392"/>
              <a:gd name="T8" fmla="*/ 276 w 394"/>
              <a:gd name="T9" fmla="*/ 49 h 392"/>
              <a:gd name="T10" fmla="*/ 242 w 394"/>
              <a:gd name="T11" fmla="*/ 3 h 392"/>
              <a:gd name="T12" fmla="*/ 221 w 394"/>
              <a:gd name="T13" fmla="*/ 31 h 392"/>
              <a:gd name="T14" fmla="*/ 173 w 394"/>
              <a:gd name="T15" fmla="*/ 0 h 392"/>
              <a:gd name="T16" fmla="*/ 163 w 394"/>
              <a:gd name="T17" fmla="*/ 33 h 392"/>
              <a:gd name="T18" fmla="*/ 107 w 394"/>
              <a:gd name="T19" fmla="*/ 20 h 392"/>
              <a:gd name="T20" fmla="*/ 110 w 394"/>
              <a:gd name="T21" fmla="*/ 54 h 392"/>
              <a:gd name="T22" fmla="*/ 53 w 394"/>
              <a:gd name="T23" fmla="*/ 61 h 392"/>
              <a:gd name="T24" fmla="*/ 67 w 394"/>
              <a:gd name="T25" fmla="*/ 93 h 392"/>
              <a:gd name="T26" fmla="*/ 15 w 394"/>
              <a:gd name="T27" fmla="*/ 118 h 392"/>
              <a:gd name="T28" fmla="*/ 39 w 394"/>
              <a:gd name="T29" fmla="*/ 144 h 392"/>
              <a:gd name="T30" fmla="*/ 0 w 394"/>
              <a:gd name="T31" fmla="*/ 185 h 392"/>
              <a:gd name="T32" fmla="*/ 31 w 394"/>
              <a:gd name="T33" fmla="*/ 196 h 392"/>
              <a:gd name="T34" fmla="*/ 0 w 394"/>
              <a:gd name="T35" fmla="*/ 206 h 392"/>
              <a:gd name="T36" fmla="*/ 39 w 394"/>
              <a:gd name="T37" fmla="*/ 248 h 392"/>
              <a:gd name="T38" fmla="*/ 15 w 394"/>
              <a:gd name="T39" fmla="*/ 273 h 392"/>
              <a:gd name="T40" fmla="*/ 67 w 394"/>
              <a:gd name="T41" fmla="*/ 299 h 392"/>
              <a:gd name="T42" fmla="*/ 53 w 394"/>
              <a:gd name="T43" fmla="*/ 331 h 392"/>
              <a:gd name="T44" fmla="*/ 110 w 394"/>
              <a:gd name="T45" fmla="*/ 337 h 392"/>
              <a:gd name="T46" fmla="*/ 107 w 394"/>
              <a:gd name="T47" fmla="*/ 372 h 392"/>
              <a:gd name="T48" fmla="*/ 163 w 394"/>
              <a:gd name="T49" fmla="*/ 359 h 392"/>
              <a:gd name="T50" fmla="*/ 173 w 394"/>
              <a:gd name="T51" fmla="*/ 392 h 392"/>
              <a:gd name="T52" fmla="*/ 221 w 394"/>
              <a:gd name="T53" fmla="*/ 360 h 392"/>
              <a:gd name="T54" fmla="*/ 242 w 394"/>
              <a:gd name="T55" fmla="*/ 388 h 392"/>
              <a:gd name="T56" fmla="*/ 276 w 394"/>
              <a:gd name="T57" fmla="*/ 342 h 392"/>
              <a:gd name="T58" fmla="*/ 305 w 394"/>
              <a:gd name="T59" fmla="*/ 361 h 392"/>
              <a:gd name="T60" fmla="*/ 321 w 394"/>
              <a:gd name="T61" fmla="*/ 306 h 392"/>
              <a:gd name="T62" fmla="*/ 355 w 394"/>
              <a:gd name="T63" fmla="*/ 315 h 392"/>
              <a:gd name="T64" fmla="*/ 351 w 394"/>
              <a:gd name="T65" fmla="*/ 257 h 392"/>
              <a:gd name="T66" fmla="*/ 386 w 394"/>
              <a:gd name="T67" fmla="*/ 253 h 392"/>
              <a:gd name="T68" fmla="*/ 363 w 394"/>
              <a:gd name="T69" fmla="*/ 201 h 392"/>
              <a:gd name="T70" fmla="*/ 363 w 394"/>
              <a:gd name="T71" fmla="*/ 191 h 392"/>
              <a:gd name="T72" fmla="*/ 386 w 394"/>
              <a:gd name="T73" fmla="*/ 138 h 392"/>
              <a:gd name="T74" fmla="*/ 221 w 394"/>
              <a:gd name="T75" fmla="*/ 330 h 392"/>
              <a:gd name="T76" fmla="*/ 267 w 394"/>
              <a:gd name="T77" fmla="*/ 220 h 392"/>
              <a:gd name="T78" fmla="*/ 221 w 394"/>
              <a:gd name="T79" fmla="*/ 330 h 392"/>
              <a:gd name="T80" fmla="*/ 234 w 394"/>
              <a:gd name="T81" fmla="*/ 196 h 392"/>
              <a:gd name="T82" fmla="*/ 160 w 394"/>
              <a:gd name="T83" fmla="*/ 196 h 392"/>
              <a:gd name="T84" fmla="*/ 63 w 394"/>
              <a:gd name="T85" fmla="*/ 220 h 392"/>
              <a:gd name="T86" fmla="*/ 173 w 394"/>
              <a:gd name="T87" fmla="*/ 266 h 392"/>
              <a:gd name="T88" fmla="*/ 63 w 394"/>
              <a:gd name="T89" fmla="*/ 220 h 392"/>
              <a:gd name="T90" fmla="*/ 173 w 394"/>
              <a:gd name="T91" fmla="*/ 126 h 392"/>
              <a:gd name="T92" fmla="*/ 63 w 394"/>
              <a:gd name="T93" fmla="*/ 172 h 392"/>
              <a:gd name="T94" fmla="*/ 331 w 394"/>
              <a:gd name="T95" fmla="*/ 172 h 392"/>
              <a:gd name="T96" fmla="*/ 221 w 394"/>
              <a:gd name="T97" fmla="*/ 126 h 392"/>
              <a:gd name="T98" fmla="*/ 331 w 394"/>
              <a:gd name="T99" fmla="*/ 172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4" h="392">
                <a:moveTo>
                  <a:pt x="355" y="144"/>
                </a:moveTo>
                <a:cubicBezTo>
                  <a:pt x="354" y="141"/>
                  <a:pt x="353" y="137"/>
                  <a:pt x="351" y="134"/>
                </a:cubicBezTo>
                <a:cubicBezTo>
                  <a:pt x="379" y="118"/>
                  <a:pt x="379" y="118"/>
                  <a:pt x="379" y="118"/>
                </a:cubicBezTo>
                <a:cubicBezTo>
                  <a:pt x="355" y="77"/>
                  <a:pt x="355" y="77"/>
                  <a:pt x="355" y="77"/>
                </a:cubicBezTo>
                <a:cubicBezTo>
                  <a:pt x="327" y="93"/>
                  <a:pt x="327" y="93"/>
                  <a:pt x="327" y="93"/>
                </a:cubicBezTo>
                <a:cubicBezTo>
                  <a:pt x="325" y="90"/>
                  <a:pt x="323" y="88"/>
                  <a:pt x="321" y="85"/>
                </a:cubicBezTo>
                <a:cubicBezTo>
                  <a:pt x="341" y="61"/>
                  <a:pt x="341" y="61"/>
                  <a:pt x="341" y="61"/>
                </a:cubicBezTo>
                <a:cubicBezTo>
                  <a:pt x="305" y="30"/>
                  <a:pt x="305" y="30"/>
                  <a:pt x="305" y="30"/>
                </a:cubicBezTo>
                <a:cubicBezTo>
                  <a:pt x="284" y="54"/>
                  <a:pt x="284" y="54"/>
                  <a:pt x="284" y="54"/>
                </a:cubicBezTo>
                <a:cubicBezTo>
                  <a:pt x="282" y="53"/>
                  <a:pt x="279" y="51"/>
                  <a:pt x="276" y="49"/>
                </a:cubicBezTo>
                <a:cubicBezTo>
                  <a:pt x="287" y="20"/>
                  <a:pt x="287" y="20"/>
                  <a:pt x="287" y="20"/>
                </a:cubicBezTo>
                <a:cubicBezTo>
                  <a:pt x="242" y="3"/>
                  <a:pt x="242" y="3"/>
                  <a:pt x="242" y="3"/>
                </a:cubicBezTo>
                <a:cubicBezTo>
                  <a:pt x="231" y="33"/>
                  <a:pt x="231" y="33"/>
                  <a:pt x="231" y="33"/>
                </a:cubicBezTo>
                <a:cubicBezTo>
                  <a:pt x="227" y="32"/>
                  <a:pt x="224" y="32"/>
                  <a:pt x="221" y="31"/>
                </a:cubicBezTo>
                <a:cubicBezTo>
                  <a:pt x="221" y="0"/>
                  <a:pt x="221" y="0"/>
                  <a:pt x="221" y="0"/>
                </a:cubicBezTo>
                <a:cubicBezTo>
                  <a:pt x="173" y="0"/>
                  <a:pt x="173" y="0"/>
                  <a:pt x="173" y="0"/>
                </a:cubicBezTo>
                <a:cubicBezTo>
                  <a:pt x="173" y="31"/>
                  <a:pt x="173" y="31"/>
                  <a:pt x="173" y="31"/>
                </a:cubicBezTo>
                <a:cubicBezTo>
                  <a:pt x="170" y="32"/>
                  <a:pt x="166" y="32"/>
                  <a:pt x="163" y="33"/>
                </a:cubicBezTo>
                <a:cubicBezTo>
                  <a:pt x="152" y="3"/>
                  <a:pt x="152" y="3"/>
                  <a:pt x="152" y="3"/>
                </a:cubicBezTo>
                <a:cubicBezTo>
                  <a:pt x="107" y="20"/>
                  <a:pt x="107" y="20"/>
                  <a:pt x="107" y="20"/>
                </a:cubicBezTo>
                <a:cubicBezTo>
                  <a:pt x="118" y="49"/>
                  <a:pt x="118" y="49"/>
                  <a:pt x="118" y="49"/>
                </a:cubicBezTo>
                <a:cubicBezTo>
                  <a:pt x="115" y="51"/>
                  <a:pt x="112" y="53"/>
                  <a:pt x="110" y="54"/>
                </a:cubicBezTo>
                <a:cubicBezTo>
                  <a:pt x="89" y="30"/>
                  <a:pt x="89" y="30"/>
                  <a:pt x="89" y="30"/>
                </a:cubicBezTo>
                <a:cubicBezTo>
                  <a:pt x="53" y="61"/>
                  <a:pt x="53" y="61"/>
                  <a:pt x="53" y="61"/>
                </a:cubicBezTo>
                <a:cubicBezTo>
                  <a:pt x="73" y="85"/>
                  <a:pt x="73" y="85"/>
                  <a:pt x="73" y="85"/>
                </a:cubicBezTo>
                <a:cubicBezTo>
                  <a:pt x="71" y="88"/>
                  <a:pt x="69" y="90"/>
                  <a:pt x="67" y="93"/>
                </a:cubicBezTo>
                <a:cubicBezTo>
                  <a:pt x="39" y="77"/>
                  <a:pt x="39" y="77"/>
                  <a:pt x="39" y="77"/>
                </a:cubicBezTo>
                <a:cubicBezTo>
                  <a:pt x="15" y="118"/>
                  <a:pt x="15" y="118"/>
                  <a:pt x="15" y="118"/>
                </a:cubicBezTo>
                <a:cubicBezTo>
                  <a:pt x="43" y="134"/>
                  <a:pt x="43" y="134"/>
                  <a:pt x="43" y="134"/>
                </a:cubicBezTo>
                <a:cubicBezTo>
                  <a:pt x="41" y="137"/>
                  <a:pt x="40" y="141"/>
                  <a:pt x="39" y="144"/>
                </a:cubicBezTo>
                <a:cubicBezTo>
                  <a:pt x="8" y="138"/>
                  <a:pt x="8" y="138"/>
                  <a:pt x="8" y="138"/>
                </a:cubicBezTo>
                <a:cubicBezTo>
                  <a:pt x="0" y="185"/>
                  <a:pt x="0" y="185"/>
                  <a:pt x="0" y="185"/>
                </a:cubicBezTo>
                <a:cubicBezTo>
                  <a:pt x="31" y="191"/>
                  <a:pt x="31" y="191"/>
                  <a:pt x="31" y="191"/>
                </a:cubicBezTo>
                <a:cubicBezTo>
                  <a:pt x="31" y="193"/>
                  <a:pt x="31" y="194"/>
                  <a:pt x="31" y="196"/>
                </a:cubicBezTo>
                <a:cubicBezTo>
                  <a:pt x="31" y="197"/>
                  <a:pt x="31" y="199"/>
                  <a:pt x="31" y="201"/>
                </a:cubicBezTo>
                <a:cubicBezTo>
                  <a:pt x="0" y="206"/>
                  <a:pt x="0" y="206"/>
                  <a:pt x="0" y="206"/>
                </a:cubicBezTo>
                <a:cubicBezTo>
                  <a:pt x="8" y="253"/>
                  <a:pt x="8" y="253"/>
                  <a:pt x="8" y="253"/>
                </a:cubicBezTo>
                <a:cubicBezTo>
                  <a:pt x="39" y="248"/>
                  <a:pt x="39" y="248"/>
                  <a:pt x="39" y="248"/>
                </a:cubicBezTo>
                <a:cubicBezTo>
                  <a:pt x="40" y="251"/>
                  <a:pt x="41" y="254"/>
                  <a:pt x="43" y="257"/>
                </a:cubicBezTo>
                <a:cubicBezTo>
                  <a:pt x="15" y="273"/>
                  <a:pt x="15" y="273"/>
                  <a:pt x="15" y="273"/>
                </a:cubicBezTo>
                <a:cubicBezTo>
                  <a:pt x="39" y="315"/>
                  <a:pt x="39" y="315"/>
                  <a:pt x="39" y="315"/>
                </a:cubicBezTo>
                <a:cubicBezTo>
                  <a:pt x="67" y="299"/>
                  <a:pt x="67" y="299"/>
                  <a:pt x="67" y="299"/>
                </a:cubicBezTo>
                <a:cubicBezTo>
                  <a:pt x="69" y="301"/>
                  <a:pt x="71" y="304"/>
                  <a:pt x="73" y="306"/>
                </a:cubicBezTo>
                <a:cubicBezTo>
                  <a:pt x="53" y="331"/>
                  <a:pt x="53" y="331"/>
                  <a:pt x="53" y="331"/>
                </a:cubicBezTo>
                <a:cubicBezTo>
                  <a:pt x="89" y="361"/>
                  <a:pt x="89" y="361"/>
                  <a:pt x="89" y="361"/>
                </a:cubicBezTo>
                <a:cubicBezTo>
                  <a:pt x="110" y="337"/>
                  <a:pt x="110" y="337"/>
                  <a:pt x="110" y="337"/>
                </a:cubicBezTo>
                <a:cubicBezTo>
                  <a:pt x="112" y="339"/>
                  <a:pt x="115" y="341"/>
                  <a:pt x="118" y="342"/>
                </a:cubicBezTo>
                <a:cubicBezTo>
                  <a:pt x="107" y="372"/>
                  <a:pt x="107" y="372"/>
                  <a:pt x="107" y="372"/>
                </a:cubicBezTo>
                <a:cubicBezTo>
                  <a:pt x="152" y="388"/>
                  <a:pt x="152" y="388"/>
                  <a:pt x="152" y="388"/>
                </a:cubicBezTo>
                <a:cubicBezTo>
                  <a:pt x="163" y="359"/>
                  <a:pt x="163" y="359"/>
                  <a:pt x="163" y="359"/>
                </a:cubicBezTo>
                <a:cubicBezTo>
                  <a:pt x="166" y="359"/>
                  <a:pt x="170" y="360"/>
                  <a:pt x="173" y="360"/>
                </a:cubicBezTo>
                <a:cubicBezTo>
                  <a:pt x="173" y="392"/>
                  <a:pt x="173" y="392"/>
                  <a:pt x="173" y="392"/>
                </a:cubicBezTo>
                <a:cubicBezTo>
                  <a:pt x="221" y="392"/>
                  <a:pt x="221" y="392"/>
                  <a:pt x="221" y="392"/>
                </a:cubicBezTo>
                <a:cubicBezTo>
                  <a:pt x="221" y="360"/>
                  <a:pt x="221" y="360"/>
                  <a:pt x="221" y="360"/>
                </a:cubicBezTo>
                <a:cubicBezTo>
                  <a:pt x="224" y="360"/>
                  <a:pt x="227" y="359"/>
                  <a:pt x="231" y="359"/>
                </a:cubicBezTo>
                <a:cubicBezTo>
                  <a:pt x="242" y="388"/>
                  <a:pt x="242" y="388"/>
                  <a:pt x="242" y="388"/>
                </a:cubicBezTo>
                <a:cubicBezTo>
                  <a:pt x="287" y="372"/>
                  <a:pt x="287" y="372"/>
                  <a:pt x="287" y="372"/>
                </a:cubicBezTo>
                <a:cubicBezTo>
                  <a:pt x="276" y="342"/>
                  <a:pt x="276" y="342"/>
                  <a:pt x="276" y="342"/>
                </a:cubicBezTo>
                <a:cubicBezTo>
                  <a:pt x="279" y="341"/>
                  <a:pt x="282" y="339"/>
                  <a:pt x="284" y="337"/>
                </a:cubicBezTo>
                <a:cubicBezTo>
                  <a:pt x="305" y="361"/>
                  <a:pt x="305" y="361"/>
                  <a:pt x="305" y="361"/>
                </a:cubicBezTo>
                <a:cubicBezTo>
                  <a:pt x="341" y="331"/>
                  <a:pt x="341" y="331"/>
                  <a:pt x="341" y="331"/>
                </a:cubicBezTo>
                <a:cubicBezTo>
                  <a:pt x="321" y="306"/>
                  <a:pt x="321" y="306"/>
                  <a:pt x="321" y="306"/>
                </a:cubicBezTo>
                <a:cubicBezTo>
                  <a:pt x="323" y="304"/>
                  <a:pt x="325" y="301"/>
                  <a:pt x="327" y="299"/>
                </a:cubicBezTo>
                <a:cubicBezTo>
                  <a:pt x="355" y="315"/>
                  <a:pt x="355" y="315"/>
                  <a:pt x="355" y="315"/>
                </a:cubicBezTo>
                <a:cubicBezTo>
                  <a:pt x="379" y="273"/>
                  <a:pt x="379" y="273"/>
                  <a:pt x="379" y="273"/>
                </a:cubicBezTo>
                <a:cubicBezTo>
                  <a:pt x="351" y="257"/>
                  <a:pt x="351" y="257"/>
                  <a:pt x="351" y="257"/>
                </a:cubicBezTo>
                <a:cubicBezTo>
                  <a:pt x="353" y="254"/>
                  <a:pt x="354" y="251"/>
                  <a:pt x="355" y="248"/>
                </a:cubicBezTo>
                <a:cubicBezTo>
                  <a:pt x="386" y="253"/>
                  <a:pt x="386" y="253"/>
                  <a:pt x="386" y="253"/>
                </a:cubicBezTo>
                <a:cubicBezTo>
                  <a:pt x="394" y="206"/>
                  <a:pt x="394" y="206"/>
                  <a:pt x="394" y="206"/>
                </a:cubicBezTo>
                <a:cubicBezTo>
                  <a:pt x="363" y="201"/>
                  <a:pt x="363" y="201"/>
                  <a:pt x="363" y="201"/>
                </a:cubicBezTo>
                <a:cubicBezTo>
                  <a:pt x="363" y="199"/>
                  <a:pt x="363" y="197"/>
                  <a:pt x="363" y="196"/>
                </a:cubicBezTo>
                <a:cubicBezTo>
                  <a:pt x="363" y="194"/>
                  <a:pt x="363" y="193"/>
                  <a:pt x="363" y="191"/>
                </a:cubicBezTo>
                <a:cubicBezTo>
                  <a:pt x="394" y="185"/>
                  <a:pt x="394" y="185"/>
                  <a:pt x="394" y="185"/>
                </a:cubicBezTo>
                <a:cubicBezTo>
                  <a:pt x="386" y="138"/>
                  <a:pt x="386" y="138"/>
                  <a:pt x="386" y="138"/>
                </a:cubicBezTo>
                <a:lnTo>
                  <a:pt x="355" y="144"/>
                </a:lnTo>
                <a:close/>
                <a:moveTo>
                  <a:pt x="221" y="330"/>
                </a:moveTo>
                <a:cubicBezTo>
                  <a:pt x="221" y="266"/>
                  <a:pt x="221" y="266"/>
                  <a:pt x="221" y="266"/>
                </a:cubicBezTo>
                <a:cubicBezTo>
                  <a:pt x="243" y="259"/>
                  <a:pt x="260" y="241"/>
                  <a:pt x="267" y="220"/>
                </a:cubicBezTo>
                <a:cubicBezTo>
                  <a:pt x="331" y="220"/>
                  <a:pt x="331" y="220"/>
                  <a:pt x="331" y="220"/>
                </a:cubicBezTo>
                <a:cubicBezTo>
                  <a:pt x="321" y="276"/>
                  <a:pt x="277" y="320"/>
                  <a:pt x="221" y="330"/>
                </a:cubicBezTo>
                <a:close/>
                <a:moveTo>
                  <a:pt x="197" y="158"/>
                </a:moveTo>
                <a:cubicBezTo>
                  <a:pt x="218" y="158"/>
                  <a:pt x="234" y="175"/>
                  <a:pt x="234" y="196"/>
                </a:cubicBezTo>
                <a:cubicBezTo>
                  <a:pt x="234" y="216"/>
                  <a:pt x="218" y="233"/>
                  <a:pt x="197" y="233"/>
                </a:cubicBezTo>
                <a:cubicBezTo>
                  <a:pt x="176" y="233"/>
                  <a:pt x="160" y="216"/>
                  <a:pt x="160" y="196"/>
                </a:cubicBezTo>
                <a:cubicBezTo>
                  <a:pt x="160" y="175"/>
                  <a:pt x="176" y="158"/>
                  <a:pt x="197" y="158"/>
                </a:cubicBezTo>
                <a:close/>
                <a:moveTo>
                  <a:pt x="63" y="220"/>
                </a:moveTo>
                <a:cubicBezTo>
                  <a:pt x="127" y="220"/>
                  <a:pt x="127" y="220"/>
                  <a:pt x="127" y="220"/>
                </a:cubicBezTo>
                <a:cubicBezTo>
                  <a:pt x="134" y="241"/>
                  <a:pt x="151" y="259"/>
                  <a:pt x="173" y="266"/>
                </a:cubicBezTo>
                <a:cubicBezTo>
                  <a:pt x="173" y="330"/>
                  <a:pt x="173" y="330"/>
                  <a:pt x="173" y="330"/>
                </a:cubicBezTo>
                <a:cubicBezTo>
                  <a:pt x="117" y="320"/>
                  <a:pt x="73" y="276"/>
                  <a:pt x="63" y="220"/>
                </a:cubicBezTo>
                <a:close/>
                <a:moveTo>
                  <a:pt x="173" y="62"/>
                </a:moveTo>
                <a:cubicBezTo>
                  <a:pt x="173" y="126"/>
                  <a:pt x="173" y="126"/>
                  <a:pt x="173" y="126"/>
                </a:cubicBezTo>
                <a:cubicBezTo>
                  <a:pt x="151" y="133"/>
                  <a:pt x="134" y="150"/>
                  <a:pt x="127" y="172"/>
                </a:cubicBezTo>
                <a:cubicBezTo>
                  <a:pt x="63" y="172"/>
                  <a:pt x="63" y="172"/>
                  <a:pt x="63" y="172"/>
                </a:cubicBezTo>
                <a:cubicBezTo>
                  <a:pt x="73" y="116"/>
                  <a:pt x="117" y="72"/>
                  <a:pt x="173" y="62"/>
                </a:cubicBezTo>
                <a:close/>
                <a:moveTo>
                  <a:pt x="331" y="172"/>
                </a:moveTo>
                <a:cubicBezTo>
                  <a:pt x="267" y="172"/>
                  <a:pt x="267" y="172"/>
                  <a:pt x="267" y="172"/>
                </a:cubicBezTo>
                <a:cubicBezTo>
                  <a:pt x="260" y="150"/>
                  <a:pt x="243" y="133"/>
                  <a:pt x="221" y="126"/>
                </a:cubicBezTo>
                <a:cubicBezTo>
                  <a:pt x="221" y="62"/>
                  <a:pt x="221" y="62"/>
                  <a:pt x="221" y="62"/>
                </a:cubicBezTo>
                <a:cubicBezTo>
                  <a:pt x="277" y="72"/>
                  <a:pt x="321" y="116"/>
                  <a:pt x="331" y="17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3" name="Group 20"/>
          <p:cNvGrpSpPr/>
          <p:nvPr/>
        </p:nvGrpSpPr>
        <p:grpSpPr>
          <a:xfrm>
            <a:off x="5783360" y="2591386"/>
            <a:ext cx="877410" cy="871216"/>
            <a:chOff x="5686767" y="3296748"/>
            <a:chExt cx="877410" cy="871216"/>
          </a:xfrm>
          <a:solidFill>
            <a:schemeClr val="accent4"/>
          </a:solidFill>
        </p:grpSpPr>
        <p:sp>
          <p:nvSpPr>
            <p:cNvPr id="55" name="Freeform 19"/>
            <p:cNvSpPr>
              <a:spLocks noEditPoints="1"/>
            </p:cNvSpPr>
            <p:nvPr/>
          </p:nvSpPr>
          <p:spPr bwMode="auto">
            <a:xfrm>
              <a:off x="5686767" y="3296748"/>
              <a:ext cx="877410" cy="871216"/>
            </a:xfrm>
            <a:custGeom>
              <a:avLst/>
              <a:gdLst>
                <a:gd name="T0" fmla="*/ 480 w 539"/>
                <a:gd name="T1" fmla="*/ 183 h 535"/>
                <a:gd name="T2" fmla="*/ 485 w 539"/>
                <a:gd name="T3" fmla="*/ 105 h 535"/>
                <a:gd name="T4" fmla="*/ 439 w 539"/>
                <a:gd name="T5" fmla="*/ 116 h 535"/>
                <a:gd name="T6" fmla="*/ 417 w 539"/>
                <a:gd name="T7" fmla="*/ 41 h 535"/>
                <a:gd name="T8" fmla="*/ 377 w 539"/>
                <a:gd name="T9" fmla="*/ 67 h 535"/>
                <a:gd name="T10" fmla="*/ 331 w 539"/>
                <a:gd name="T11" fmla="*/ 5 h 535"/>
                <a:gd name="T12" fmla="*/ 302 w 539"/>
                <a:gd name="T13" fmla="*/ 43 h 535"/>
                <a:gd name="T14" fmla="*/ 237 w 539"/>
                <a:gd name="T15" fmla="*/ 0 h 535"/>
                <a:gd name="T16" fmla="*/ 224 w 539"/>
                <a:gd name="T17" fmla="*/ 45 h 535"/>
                <a:gd name="T18" fmla="*/ 147 w 539"/>
                <a:gd name="T19" fmla="*/ 27 h 535"/>
                <a:gd name="T20" fmla="*/ 150 w 539"/>
                <a:gd name="T21" fmla="*/ 74 h 535"/>
                <a:gd name="T22" fmla="*/ 72 w 539"/>
                <a:gd name="T23" fmla="*/ 83 h 535"/>
                <a:gd name="T24" fmla="*/ 92 w 539"/>
                <a:gd name="T25" fmla="*/ 127 h 535"/>
                <a:gd name="T26" fmla="*/ 21 w 539"/>
                <a:gd name="T27" fmla="*/ 162 h 535"/>
                <a:gd name="T28" fmla="*/ 54 w 539"/>
                <a:gd name="T29" fmla="*/ 196 h 535"/>
                <a:gd name="T30" fmla="*/ 0 w 539"/>
                <a:gd name="T31" fmla="*/ 253 h 535"/>
                <a:gd name="T32" fmla="*/ 43 w 539"/>
                <a:gd name="T33" fmla="*/ 267 h 535"/>
                <a:gd name="T34" fmla="*/ 0 w 539"/>
                <a:gd name="T35" fmla="*/ 282 h 535"/>
                <a:gd name="T36" fmla="*/ 54 w 539"/>
                <a:gd name="T37" fmla="*/ 338 h 535"/>
                <a:gd name="T38" fmla="*/ 21 w 539"/>
                <a:gd name="T39" fmla="*/ 373 h 535"/>
                <a:gd name="T40" fmla="*/ 92 w 539"/>
                <a:gd name="T41" fmla="*/ 408 h 535"/>
                <a:gd name="T42" fmla="*/ 72 w 539"/>
                <a:gd name="T43" fmla="*/ 451 h 535"/>
                <a:gd name="T44" fmla="*/ 150 w 539"/>
                <a:gd name="T45" fmla="*/ 460 h 535"/>
                <a:gd name="T46" fmla="*/ 147 w 539"/>
                <a:gd name="T47" fmla="*/ 508 h 535"/>
                <a:gd name="T48" fmla="*/ 224 w 539"/>
                <a:gd name="T49" fmla="*/ 489 h 535"/>
                <a:gd name="T50" fmla="*/ 237 w 539"/>
                <a:gd name="T51" fmla="*/ 535 h 535"/>
                <a:gd name="T52" fmla="*/ 302 w 539"/>
                <a:gd name="T53" fmla="*/ 492 h 535"/>
                <a:gd name="T54" fmla="*/ 331 w 539"/>
                <a:gd name="T55" fmla="*/ 530 h 535"/>
                <a:gd name="T56" fmla="*/ 377 w 539"/>
                <a:gd name="T57" fmla="*/ 467 h 535"/>
                <a:gd name="T58" fmla="*/ 417 w 539"/>
                <a:gd name="T59" fmla="*/ 493 h 535"/>
                <a:gd name="T60" fmla="*/ 439 w 539"/>
                <a:gd name="T61" fmla="*/ 418 h 535"/>
                <a:gd name="T62" fmla="*/ 485 w 539"/>
                <a:gd name="T63" fmla="*/ 430 h 535"/>
                <a:gd name="T64" fmla="*/ 480 w 539"/>
                <a:gd name="T65" fmla="*/ 351 h 535"/>
                <a:gd name="T66" fmla="*/ 528 w 539"/>
                <a:gd name="T67" fmla="*/ 346 h 535"/>
                <a:gd name="T68" fmla="*/ 496 w 539"/>
                <a:gd name="T69" fmla="*/ 274 h 535"/>
                <a:gd name="T70" fmla="*/ 496 w 539"/>
                <a:gd name="T71" fmla="*/ 261 h 535"/>
                <a:gd name="T72" fmla="*/ 528 w 539"/>
                <a:gd name="T73" fmla="*/ 189 h 535"/>
                <a:gd name="T74" fmla="*/ 454 w 539"/>
                <a:gd name="T75" fmla="*/ 267 h 535"/>
                <a:gd name="T76" fmla="*/ 85 w 539"/>
                <a:gd name="T77" fmla="*/ 267 h 535"/>
                <a:gd name="T78" fmla="*/ 454 w 539"/>
                <a:gd name="T79" fmla="*/ 267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39" h="535">
                  <a:moveTo>
                    <a:pt x="485" y="196"/>
                  </a:moveTo>
                  <a:cubicBezTo>
                    <a:pt x="484" y="192"/>
                    <a:pt x="482" y="188"/>
                    <a:pt x="480" y="183"/>
                  </a:cubicBezTo>
                  <a:cubicBezTo>
                    <a:pt x="518" y="162"/>
                    <a:pt x="518" y="162"/>
                    <a:pt x="518" y="162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448" y="127"/>
                    <a:pt x="448" y="127"/>
                    <a:pt x="448" y="127"/>
                  </a:cubicBezTo>
                  <a:cubicBezTo>
                    <a:pt x="445" y="123"/>
                    <a:pt x="442" y="120"/>
                    <a:pt x="439" y="116"/>
                  </a:cubicBezTo>
                  <a:cubicBezTo>
                    <a:pt x="467" y="83"/>
                    <a:pt x="467" y="83"/>
                    <a:pt x="467" y="83"/>
                  </a:cubicBezTo>
                  <a:cubicBezTo>
                    <a:pt x="417" y="41"/>
                    <a:pt x="417" y="41"/>
                    <a:pt x="417" y="41"/>
                  </a:cubicBezTo>
                  <a:cubicBezTo>
                    <a:pt x="389" y="74"/>
                    <a:pt x="389" y="74"/>
                    <a:pt x="389" y="74"/>
                  </a:cubicBezTo>
                  <a:cubicBezTo>
                    <a:pt x="385" y="72"/>
                    <a:pt x="381" y="70"/>
                    <a:pt x="377" y="67"/>
                  </a:cubicBezTo>
                  <a:cubicBezTo>
                    <a:pt x="392" y="27"/>
                    <a:pt x="392" y="27"/>
                    <a:pt x="392" y="27"/>
                  </a:cubicBezTo>
                  <a:cubicBezTo>
                    <a:pt x="331" y="5"/>
                    <a:pt x="331" y="5"/>
                    <a:pt x="331" y="5"/>
                  </a:cubicBezTo>
                  <a:cubicBezTo>
                    <a:pt x="316" y="45"/>
                    <a:pt x="316" y="45"/>
                    <a:pt x="316" y="45"/>
                  </a:cubicBezTo>
                  <a:cubicBezTo>
                    <a:pt x="311" y="44"/>
                    <a:pt x="307" y="43"/>
                    <a:pt x="302" y="43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2" y="43"/>
                    <a:pt x="228" y="44"/>
                    <a:pt x="224" y="45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147" y="27"/>
                    <a:pt x="147" y="27"/>
                    <a:pt x="147" y="27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58" y="70"/>
                    <a:pt x="154" y="72"/>
                    <a:pt x="150" y="74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97" y="120"/>
                    <a:pt x="94" y="123"/>
                    <a:pt x="92" y="127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21" y="162"/>
                    <a:pt x="21" y="162"/>
                    <a:pt x="21" y="162"/>
                  </a:cubicBezTo>
                  <a:cubicBezTo>
                    <a:pt x="59" y="183"/>
                    <a:pt x="59" y="183"/>
                    <a:pt x="59" y="183"/>
                  </a:cubicBezTo>
                  <a:cubicBezTo>
                    <a:pt x="57" y="188"/>
                    <a:pt x="56" y="192"/>
                    <a:pt x="54" y="196"/>
                  </a:cubicBezTo>
                  <a:cubicBezTo>
                    <a:pt x="12" y="189"/>
                    <a:pt x="12" y="189"/>
                    <a:pt x="12" y="189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3" y="263"/>
                    <a:pt x="43" y="265"/>
                    <a:pt x="43" y="267"/>
                  </a:cubicBezTo>
                  <a:cubicBezTo>
                    <a:pt x="43" y="270"/>
                    <a:pt x="43" y="272"/>
                    <a:pt x="43" y="274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12" y="346"/>
                    <a:pt x="12" y="346"/>
                    <a:pt x="12" y="346"/>
                  </a:cubicBezTo>
                  <a:cubicBezTo>
                    <a:pt x="54" y="338"/>
                    <a:pt x="54" y="338"/>
                    <a:pt x="54" y="338"/>
                  </a:cubicBezTo>
                  <a:cubicBezTo>
                    <a:pt x="56" y="343"/>
                    <a:pt x="57" y="347"/>
                    <a:pt x="59" y="351"/>
                  </a:cubicBezTo>
                  <a:cubicBezTo>
                    <a:pt x="21" y="373"/>
                    <a:pt x="21" y="373"/>
                    <a:pt x="21" y="373"/>
                  </a:cubicBezTo>
                  <a:cubicBezTo>
                    <a:pt x="54" y="430"/>
                    <a:pt x="54" y="430"/>
                    <a:pt x="54" y="430"/>
                  </a:cubicBezTo>
                  <a:cubicBezTo>
                    <a:pt x="92" y="408"/>
                    <a:pt x="92" y="408"/>
                    <a:pt x="92" y="408"/>
                  </a:cubicBezTo>
                  <a:cubicBezTo>
                    <a:pt x="94" y="411"/>
                    <a:pt x="97" y="415"/>
                    <a:pt x="100" y="418"/>
                  </a:cubicBezTo>
                  <a:cubicBezTo>
                    <a:pt x="72" y="451"/>
                    <a:pt x="72" y="451"/>
                    <a:pt x="72" y="451"/>
                  </a:cubicBezTo>
                  <a:cubicBezTo>
                    <a:pt x="123" y="493"/>
                    <a:pt x="123" y="493"/>
                    <a:pt x="123" y="493"/>
                  </a:cubicBezTo>
                  <a:cubicBezTo>
                    <a:pt x="150" y="460"/>
                    <a:pt x="150" y="460"/>
                    <a:pt x="150" y="460"/>
                  </a:cubicBezTo>
                  <a:cubicBezTo>
                    <a:pt x="154" y="463"/>
                    <a:pt x="158" y="465"/>
                    <a:pt x="162" y="467"/>
                  </a:cubicBezTo>
                  <a:cubicBezTo>
                    <a:pt x="147" y="508"/>
                    <a:pt x="147" y="508"/>
                    <a:pt x="147" y="508"/>
                  </a:cubicBezTo>
                  <a:cubicBezTo>
                    <a:pt x="209" y="530"/>
                    <a:pt x="209" y="530"/>
                    <a:pt x="209" y="530"/>
                  </a:cubicBezTo>
                  <a:cubicBezTo>
                    <a:pt x="224" y="489"/>
                    <a:pt x="224" y="489"/>
                    <a:pt x="224" y="489"/>
                  </a:cubicBezTo>
                  <a:cubicBezTo>
                    <a:pt x="228" y="490"/>
                    <a:pt x="232" y="491"/>
                    <a:pt x="237" y="492"/>
                  </a:cubicBezTo>
                  <a:cubicBezTo>
                    <a:pt x="237" y="535"/>
                    <a:pt x="237" y="535"/>
                    <a:pt x="237" y="535"/>
                  </a:cubicBezTo>
                  <a:cubicBezTo>
                    <a:pt x="302" y="535"/>
                    <a:pt x="302" y="535"/>
                    <a:pt x="302" y="535"/>
                  </a:cubicBezTo>
                  <a:cubicBezTo>
                    <a:pt x="302" y="492"/>
                    <a:pt x="302" y="492"/>
                    <a:pt x="302" y="492"/>
                  </a:cubicBezTo>
                  <a:cubicBezTo>
                    <a:pt x="307" y="491"/>
                    <a:pt x="311" y="490"/>
                    <a:pt x="316" y="489"/>
                  </a:cubicBezTo>
                  <a:cubicBezTo>
                    <a:pt x="331" y="530"/>
                    <a:pt x="331" y="530"/>
                    <a:pt x="331" y="530"/>
                  </a:cubicBezTo>
                  <a:cubicBezTo>
                    <a:pt x="392" y="508"/>
                    <a:pt x="392" y="508"/>
                    <a:pt x="392" y="508"/>
                  </a:cubicBezTo>
                  <a:cubicBezTo>
                    <a:pt x="377" y="467"/>
                    <a:pt x="377" y="467"/>
                    <a:pt x="377" y="467"/>
                  </a:cubicBezTo>
                  <a:cubicBezTo>
                    <a:pt x="381" y="465"/>
                    <a:pt x="385" y="463"/>
                    <a:pt x="389" y="460"/>
                  </a:cubicBezTo>
                  <a:cubicBezTo>
                    <a:pt x="417" y="493"/>
                    <a:pt x="417" y="493"/>
                    <a:pt x="417" y="493"/>
                  </a:cubicBezTo>
                  <a:cubicBezTo>
                    <a:pt x="467" y="451"/>
                    <a:pt x="467" y="451"/>
                    <a:pt x="467" y="451"/>
                  </a:cubicBezTo>
                  <a:cubicBezTo>
                    <a:pt x="439" y="418"/>
                    <a:pt x="439" y="418"/>
                    <a:pt x="439" y="418"/>
                  </a:cubicBezTo>
                  <a:cubicBezTo>
                    <a:pt x="442" y="415"/>
                    <a:pt x="445" y="411"/>
                    <a:pt x="448" y="408"/>
                  </a:cubicBezTo>
                  <a:cubicBezTo>
                    <a:pt x="485" y="430"/>
                    <a:pt x="485" y="430"/>
                    <a:pt x="485" y="430"/>
                  </a:cubicBezTo>
                  <a:cubicBezTo>
                    <a:pt x="518" y="373"/>
                    <a:pt x="518" y="373"/>
                    <a:pt x="518" y="373"/>
                  </a:cubicBezTo>
                  <a:cubicBezTo>
                    <a:pt x="480" y="351"/>
                    <a:pt x="480" y="351"/>
                    <a:pt x="480" y="351"/>
                  </a:cubicBezTo>
                  <a:cubicBezTo>
                    <a:pt x="482" y="347"/>
                    <a:pt x="484" y="343"/>
                    <a:pt x="485" y="338"/>
                  </a:cubicBezTo>
                  <a:cubicBezTo>
                    <a:pt x="528" y="346"/>
                    <a:pt x="528" y="346"/>
                    <a:pt x="528" y="346"/>
                  </a:cubicBezTo>
                  <a:cubicBezTo>
                    <a:pt x="539" y="282"/>
                    <a:pt x="539" y="282"/>
                    <a:pt x="539" y="282"/>
                  </a:cubicBezTo>
                  <a:cubicBezTo>
                    <a:pt x="496" y="274"/>
                    <a:pt x="496" y="274"/>
                    <a:pt x="496" y="274"/>
                  </a:cubicBezTo>
                  <a:cubicBezTo>
                    <a:pt x="496" y="272"/>
                    <a:pt x="497" y="270"/>
                    <a:pt x="497" y="267"/>
                  </a:cubicBezTo>
                  <a:cubicBezTo>
                    <a:pt x="497" y="265"/>
                    <a:pt x="496" y="263"/>
                    <a:pt x="496" y="261"/>
                  </a:cubicBezTo>
                  <a:cubicBezTo>
                    <a:pt x="539" y="253"/>
                    <a:pt x="539" y="253"/>
                    <a:pt x="539" y="253"/>
                  </a:cubicBezTo>
                  <a:cubicBezTo>
                    <a:pt x="528" y="189"/>
                    <a:pt x="528" y="189"/>
                    <a:pt x="528" y="189"/>
                  </a:cubicBezTo>
                  <a:lnTo>
                    <a:pt x="485" y="196"/>
                  </a:lnTo>
                  <a:close/>
                  <a:moveTo>
                    <a:pt x="454" y="267"/>
                  </a:moveTo>
                  <a:cubicBezTo>
                    <a:pt x="454" y="369"/>
                    <a:pt x="372" y="452"/>
                    <a:pt x="270" y="452"/>
                  </a:cubicBezTo>
                  <a:cubicBezTo>
                    <a:pt x="168" y="452"/>
                    <a:pt x="85" y="369"/>
                    <a:pt x="85" y="267"/>
                  </a:cubicBezTo>
                  <a:cubicBezTo>
                    <a:pt x="85" y="165"/>
                    <a:pt x="168" y="83"/>
                    <a:pt x="270" y="83"/>
                  </a:cubicBezTo>
                  <a:cubicBezTo>
                    <a:pt x="372" y="83"/>
                    <a:pt x="454" y="165"/>
                    <a:pt x="454" y="267"/>
                  </a:cubicBezTo>
                  <a:close/>
                </a:path>
              </a:pathLst>
            </a:cu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6" name="Freeform 20"/>
            <p:cNvSpPr>
              <a:spLocks noEditPoints="1"/>
            </p:cNvSpPr>
            <p:nvPr/>
          </p:nvSpPr>
          <p:spPr bwMode="auto">
            <a:xfrm>
              <a:off x="5916614" y="3525219"/>
              <a:ext cx="417716" cy="414963"/>
            </a:xfrm>
            <a:custGeom>
              <a:avLst/>
              <a:gdLst>
                <a:gd name="T0" fmla="*/ 229 w 257"/>
                <a:gd name="T1" fmla="*/ 87 h 255"/>
                <a:gd name="T2" fmla="*/ 231 w 257"/>
                <a:gd name="T3" fmla="*/ 50 h 255"/>
                <a:gd name="T4" fmla="*/ 209 w 257"/>
                <a:gd name="T5" fmla="*/ 55 h 255"/>
                <a:gd name="T6" fmla="*/ 199 w 257"/>
                <a:gd name="T7" fmla="*/ 19 h 255"/>
                <a:gd name="T8" fmla="*/ 180 w 257"/>
                <a:gd name="T9" fmla="*/ 32 h 255"/>
                <a:gd name="T10" fmla="*/ 158 w 257"/>
                <a:gd name="T11" fmla="*/ 2 h 255"/>
                <a:gd name="T12" fmla="*/ 144 w 257"/>
                <a:gd name="T13" fmla="*/ 20 h 255"/>
                <a:gd name="T14" fmla="*/ 113 w 257"/>
                <a:gd name="T15" fmla="*/ 0 h 255"/>
                <a:gd name="T16" fmla="*/ 107 w 257"/>
                <a:gd name="T17" fmla="*/ 21 h 255"/>
                <a:gd name="T18" fmla="*/ 70 w 257"/>
                <a:gd name="T19" fmla="*/ 13 h 255"/>
                <a:gd name="T20" fmla="*/ 72 w 257"/>
                <a:gd name="T21" fmla="*/ 35 h 255"/>
                <a:gd name="T22" fmla="*/ 35 w 257"/>
                <a:gd name="T23" fmla="*/ 39 h 255"/>
                <a:gd name="T24" fmla="*/ 44 w 257"/>
                <a:gd name="T25" fmla="*/ 60 h 255"/>
                <a:gd name="T26" fmla="*/ 10 w 257"/>
                <a:gd name="T27" fmla="*/ 77 h 255"/>
                <a:gd name="T28" fmla="*/ 26 w 257"/>
                <a:gd name="T29" fmla="*/ 93 h 255"/>
                <a:gd name="T30" fmla="*/ 0 w 257"/>
                <a:gd name="T31" fmla="*/ 120 h 255"/>
                <a:gd name="T32" fmla="*/ 20 w 257"/>
                <a:gd name="T33" fmla="*/ 127 h 255"/>
                <a:gd name="T34" fmla="*/ 0 w 257"/>
                <a:gd name="T35" fmla="*/ 134 h 255"/>
                <a:gd name="T36" fmla="*/ 26 w 257"/>
                <a:gd name="T37" fmla="*/ 161 h 255"/>
                <a:gd name="T38" fmla="*/ 10 w 257"/>
                <a:gd name="T39" fmla="*/ 178 h 255"/>
                <a:gd name="T40" fmla="*/ 44 w 257"/>
                <a:gd name="T41" fmla="*/ 194 h 255"/>
                <a:gd name="T42" fmla="*/ 35 w 257"/>
                <a:gd name="T43" fmla="*/ 215 h 255"/>
                <a:gd name="T44" fmla="*/ 72 w 257"/>
                <a:gd name="T45" fmla="*/ 219 h 255"/>
                <a:gd name="T46" fmla="*/ 70 w 257"/>
                <a:gd name="T47" fmla="*/ 242 h 255"/>
                <a:gd name="T48" fmla="*/ 107 w 257"/>
                <a:gd name="T49" fmla="*/ 233 h 255"/>
                <a:gd name="T50" fmla="*/ 113 w 257"/>
                <a:gd name="T51" fmla="*/ 255 h 255"/>
                <a:gd name="T52" fmla="*/ 144 w 257"/>
                <a:gd name="T53" fmla="*/ 234 h 255"/>
                <a:gd name="T54" fmla="*/ 158 w 257"/>
                <a:gd name="T55" fmla="*/ 253 h 255"/>
                <a:gd name="T56" fmla="*/ 180 w 257"/>
                <a:gd name="T57" fmla="*/ 223 h 255"/>
                <a:gd name="T58" fmla="*/ 199 w 257"/>
                <a:gd name="T59" fmla="*/ 235 h 255"/>
                <a:gd name="T60" fmla="*/ 209 w 257"/>
                <a:gd name="T61" fmla="*/ 199 h 255"/>
                <a:gd name="T62" fmla="*/ 231 w 257"/>
                <a:gd name="T63" fmla="*/ 205 h 255"/>
                <a:gd name="T64" fmla="*/ 229 w 257"/>
                <a:gd name="T65" fmla="*/ 167 h 255"/>
                <a:gd name="T66" fmla="*/ 252 w 257"/>
                <a:gd name="T67" fmla="*/ 165 h 255"/>
                <a:gd name="T68" fmla="*/ 237 w 257"/>
                <a:gd name="T69" fmla="*/ 131 h 255"/>
                <a:gd name="T70" fmla="*/ 237 w 257"/>
                <a:gd name="T71" fmla="*/ 124 h 255"/>
                <a:gd name="T72" fmla="*/ 252 w 257"/>
                <a:gd name="T73" fmla="*/ 90 h 255"/>
                <a:gd name="T74" fmla="*/ 217 w 257"/>
                <a:gd name="T75" fmla="*/ 127 h 255"/>
                <a:gd name="T76" fmla="*/ 41 w 257"/>
                <a:gd name="T77" fmla="*/ 127 h 255"/>
                <a:gd name="T78" fmla="*/ 217 w 257"/>
                <a:gd name="T79" fmla="*/ 12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7" h="255">
                  <a:moveTo>
                    <a:pt x="231" y="93"/>
                  </a:moveTo>
                  <a:cubicBezTo>
                    <a:pt x="231" y="91"/>
                    <a:pt x="230" y="89"/>
                    <a:pt x="229" y="87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31" y="50"/>
                    <a:pt x="231" y="50"/>
                    <a:pt x="231" y="50"/>
                  </a:cubicBezTo>
                  <a:cubicBezTo>
                    <a:pt x="214" y="60"/>
                    <a:pt x="214" y="60"/>
                    <a:pt x="214" y="60"/>
                  </a:cubicBezTo>
                  <a:cubicBezTo>
                    <a:pt x="212" y="59"/>
                    <a:pt x="211" y="57"/>
                    <a:pt x="209" y="55"/>
                  </a:cubicBezTo>
                  <a:cubicBezTo>
                    <a:pt x="223" y="39"/>
                    <a:pt x="223" y="39"/>
                    <a:pt x="223" y="3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86" y="35"/>
                    <a:pt x="186" y="35"/>
                    <a:pt x="186" y="35"/>
                  </a:cubicBezTo>
                  <a:cubicBezTo>
                    <a:pt x="184" y="34"/>
                    <a:pt x="182" y="33"/>
                    <a:pt x="180" y="32"/>
                  </a:cubicBezTo>
                  <a:cubicBezTo>
                    <a:pt x="187" y="13"/>
                    <a:pt x="187" y="13"/>
                    <a:pt x="187" y="13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1" y="21"/>
                    <a:pt x="151" y="21"/>
                    <a:pt x="151" y="21"/>
                  </a:cubicBezTo>
                  <a:cubicBezTo>
                    <a:pt x="149" y="21"/>
                    <a:pt x="146" y="21"/>
                    <a:pt x="144" y="2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1" y="21"/>
                    <a:pt x="109" y="21"/>
                    <a:pt x="107" y="21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5" y="33"/>
                    <a:pt x="74" y="34"/>
                    <a:pt x="72" y="35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6" y="57"/>
                    <a:pt x="45" y="59"/>
                    <a:pt x="44" y="6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7" y="89"/>
                    <a:pt x="27" y="91"/>
                    <a:pt x="26" y="93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20" y="125"/>
                    <a:pt x="20" y="126"/>
                    <a:pt x="20" y="127"/>
                  </a:cubicBezTo>
                  <a:cubicBezTo>
                    <a:pt x="20" y="128"/>
                    <a:pt x="20" y="129"/>
                    <a:pt x="21" y="131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6" y="165"/>
                    <a:pt x="6" y="165"/>
                    <a:pt x="6" y="165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27" y="163"/>
                    <a:pt x="27" y="165"/>
                    <a:pt x="28" y="167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26" y="205"/>
                    <a:pt x="26" y="205"/>
                    <a:pt x="26" y="205"/>
                  </a:cubicBezTo>
                  <a:cubicBezTo>
                    <a:pt x="44" y="194"/>
                    <a:pt x="44" y="194"/>
                    <a:pt x="44" y="194"/>
                  </a:cubicBezTo>
                  <a:cubicBezTo>
                    <a:pt x="45" y="196"/>
                    <a:pt x="46" y="198"/>
                    <a:pt x="48" y="199"/>
                  </a:cubicBezTo>
                  <a:cubicBezTo>
                    <a:pt x="35" y="215"/>
                    <a:pt x="35" y="215"/>
                    <a:pt x="35" y="215"/>
                  </a:cubicBezTo>
                  <a:cubicBezTo>
                    <a:pt x="59" y="235"/>
                    <a:pt x="59" y="235"/>
                    <a:pt x="59" y="235"/>
                  </a:cubicBezTo>
                  <a:cubicBezTo>
                    <a:pt x="72" y="219"/>
                    <a:pt x="72" y="219"/>
                    <a:pt x="72" y="219"/>
                  </a:cubicBezTo>
                  <a:cubicBezTo>
                    <a:pt x="74" y="220"/>
                    <a:pt x="75" y="222"/>
                    <a:pt x="77" y="223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100" y="253"/>
                    <a:pt x="100" y="253"/>
                    <a:pt x="100" y="253"/>
                  </a:cubicBezTo>
                  <a:cubicBezTo>
                    <a:pt x="107" y="233"/>
                    <a:pt x="107" y="233"/>
                    <a:pt x="107" y="233"/>
                  </a:cubicBezTo>
                  <a:cubicBezTo>
                    <a:pt x="109" y="234"/>
                    <a:pt x="111" y="234"/>
                    <a:pt x="113" y="234"/>
                  </a:cubicBezTo>
                  <a:cubicBezTo>
                    <a:pt x="113" y="255"/>
                    <a:pt x="113" y="255"/>
                    <a:pt x="113" y="255"/>
                  </a:cubicBezTo>
                  <a:cubicBezTo>
                    <a:pt x="144" y="255"/>
                    <a:pt x="144" y="255"/>
                    <a:pt x="144" y="255"/>
                  </a:cubicBezTo>
                  <a:cubicBezTo>
                    <a:pt x="144" y="234"/>
                    <a:pt x="144" y="234"/>
                    <a:pt x="144" y="234"/>
                  </a:cubicBezTo>
                  <a:cubicBezTo>
                    <a:pt x="146" y="234"/>
                    <a:pt x="149" y="234"/>
                    <a:pt x="151" y="233"/>
                  </a:cubicBezTo>
                  <a:cubicBezTo>
                    <a:pt x="158" y="253"/>
                    <a:pt x="158" y="253"/>
                    <a:pt x="158" y="253"/>
                  </a:cubicBezTo>
                  <a:cubicBezTo>
                    <a:pt x="187" y="242"/>
                    <a:pt x="187" y="242"/>
                    <a:pt x="187" y="242"/>
                  </a:cubicBezTo>
                  <a:cubicBezTo>
                    <a:pt x="180" y="223"/>
                    <a:pt x="180" y="223"/>
                    <a:pt x="180" y="223"/>
                  </a:cubicBezTo>
                  <a:cubicBezTo>
                    <a:pt x="182" y="222"/>
                    <a:pt x="184" y="220"/>
                    <a:pt x="186" y="219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223" y="215"/>
                    <a:pt x="223" y="215"/>
                    <a:pt x="223" y="215"/>
                  </a:cubicBezTo>
                  <a:cubicBezTo>
                    <a:pt x="209" y="199"/>
                    <a:pt x="209" y="199"/>
                    <a:pt x="209" y="199"/>
                  </a:cubicBezTo>
                  <a:cubicBezTo>
                    <a:pt x="211" y="198"/>
                    <a:pt x="212" y="196"/>
                    <a:pt x="214" y="194"/>
                  </a:cubicBezTo>
                  <a:cubicBezTo>
                    <a:pt x="231" y="205"/>
                    <a:pt x="231" y="205"/>
                    <a:pt x="231" y="205"/>
                  </a:cubicBezTo>
                  <a:cubicBezTo>
                    <a:pt x="247" y="178"/>
                    <a:pt x="247" y="178"/>
                    <a:pt x="247" y="178"/>
                  </a:cubicBezTo>
                  <a:cubicBezTo>
                    <a:pt x="229" y="167"/>
                    <a:pt x="229" y="167"/>
                    <a:pt x="229" y="167"/>
                  </a:cubicBezTo>
                  <a:cubicBezTo>
                    <a:pt x="230" y="165"/>
                    <a:pt x="231" y="163"/>
                    <a:pt x="231" y="161"/>
                  </a:cubicBezTo>
                  <a:cubicBezTo>
                    <a:pt x="252" y="165"/>
                    <a:pt x="252" y="165"/>
                    <a:pt x="252" y="165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7" y="131"/>
                    <a:pt x="237" y="131"/>
                    <a:pt x="237" y="131"/>
                  </a:cubicBezTo>
                  <a:cubicBezTo>
                    <a:pt x="237" y="129"/>
                    <a:pt x="237" y="128"/>
                    <a:pt x="237" y="127"/>
                  </a:cubicBezTo>
                  <a:cubicBezTo>
                    <a:pt x="237" y="126"/>
                    <a:pt x="237" y="125"/>
                    <a:pt x="237" y="124"/>
                  </a:cubicBezTo>
                  <a:cubicBezTo>
                    <a:pt x="257" y="120"/>
                    <a:pt x="257" y="120"/>
                    <a:pt x="257" y="120"/>
                  </a:cubicBezTo>
                  <a:cubicBezTo>
                    <a:pt x="252" y="90"/>
                    <a:pt x="252" y="90"/>
                    <a:pt x="252" y="90"/>
                  </a:cubicBezTo>
                  <a:lnTo>
                    <a:pt x="231" y="93"/>
                  </a:lnTo>
                  <a:close/>
                  <a:moveTo>
                    <a:pt x="217" y="127"/>
                  </a:moveTo>
                  <a:cubicBezTo>
                    <a:pt x="217" y="176"/>
                    <a:pt x="177" y="215"/>
                    <a:pt x="129" y="215"/>
                  </a:cubicBezTo>
                  <a:cubicBezTo>
                    <a:pt x="80" y="215"/>
                    <a:pt x="41" y="176"/>
                    <a:pt x="41" y="127"/>
                  </a:cubicBezTo>
                  <a:cubicBezTo>
                    <a:pt x="41" y="79"/>
                    <a:pt x="80" y="39"/>
                    <a:pt x="129" y="39"/>
                  </a:cubicBezTo>
                  <a:cubicBezTo>
                    <a:pt x="177" y="39"/>
                    <a:pt x="217" y="79"/>
                    <a:pt x="217" y="127"/>
                  </a:cubicBezTo>
                  <a:close/>
                </a:path>
              </a:pathLst>
            </a:cu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/>
          </p:nvSpPr>
          <p:spPr bwMode="auto">
            <a:xfrm>
              <a:off x="6112053" y="3409607"/>
              <a:ext cx="28903" cy="657197"/>
            </a:xfrm>
            <a:prstGeom prst="rect">
              <a:avLst/>
            </a:pr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Rectangle 22"/>
            <p:cNvSpPr>
              <a:spLocks noChangeArrowheads="1"/>
            </p:cNvSpPr>
            <p:nvPr/>
          </p:nvSpPr>
          <p:spPr bwMode="auto">
            <a:xfrm>
              <a:off x="5797562" y="3723410"/>
              <a:ext cx="657197" cy="29591"/>
            </a:xfrm>
            <a:prstGeom prst="rect">
              <a:avLst/>
            </a:prstGeom>
            <a:solidFill>
              <a:srgbClr val="BB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34" name="Group 21"/>
          <p:cNvGrpSpPr/>
          <p:nvPr/>
        </p:nvGrpSpPr>
        <p:grpSpPr>
          <a:xfrm>
            <a:off x="5376655" y="1777976"/>
            <a:ext cx="887044" cy="1038440"/>
            <a:chOff x="5280062" y="2483338"/>
            <a:chExt cx="887044" cy="1038440"/>
          </a:xfrm>
          <a:solidFill>
            <a:srgbClr val="000000"/>
          </a:solidFill>
        </p:grpSpPr>
        <p:sp>
          <p:nvSpPr>
            <p:cNvPr id="51" name="Line 17"/>
            <p:cNvSpPr>
              <a:spLocks noChangeShapeType="1"/>
            </p:cNvSpPr>
            <p:nvPr/>
          </p:nvSpPr>
          <p:spPr bwMode="auto">
            <a:xfrm>
              <a:off x="5320664" y="352177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2" name="Line 18"/>
            <p:cNvSpPr>
              <a:spLocks noChangeShapeType="1"/>
            </p:cNvSpPr>
            <p:nvPr/>
          </p:nvSpPr>
          <p:spPr bwMode="auto">
            <a:xfrm>
              <a:off x="5320664" y="352177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3" name="Freeform 23"/>
            <p:cNvSpPr>
              <a:spLocks noEditPoints="1"/>
            </p:cNvSpPr>
            <p:nvPr/>
          </p:nvSpPr>
          <p:spPr bwMode="auto">
            <a:xfrm>
              <a:off x="5280062" y="2483338"/>
              <a:ext cx="887044" cy="880163"/>
            </a:xfrm>
            <a:custGeom>
              <a:avLst/>
              <a:gdLst>
                <a:gd name="T0" fmla="*/ 533 w 545"/>
                <a:gd name="T1" fmla="*/ 191 h 541"/>
                <a:gd name="T2" fmla="*/ 490 w 545"/>
                <a:gd name="T3" fmla="*/ 106 h 541"/>
                <a:gd name="T4" fmla="*/ 421 w 545"/>
                <a:gd name="T5" fmla="*/ 42 h 541"/>
                <a:gd name="T6" fmla="*/ 334 w 545"/>
                <a:gd name="T7" fmla="*/ 5 h 541"/>
                <a:gd name="T8" fmla="*/ 239 w 545"/>
                <a:gd name="T9" fmla="*/ 0 h 541"/>
                <a:gd name="T10" fmla="*/ 149 w 545"/>
                <a:gd name="T11" fmla="*/ 27 h 541"/>
                <a:gd name="T12" fmla="*/ 73 w 545"/>
                <a:gd name="T13" fmla="*/ 84 h 541"/>
                <a:gd name="T14" fmla="*/ 22 w 545"/>
                <a:gd name="T15" fmla="*/ 164 h 541"/>
                <a:gd name="T16" fmla="*/ 0 w 545"/>
                <a:gd name="T17" fmla="*/ 256 h 541"/>
                <a:gd name="T18" fmla="*/ 0 w 545"/>
                <a:gd name="T19" fmla="*/ 285 h 541"/>
                <a:gd name="T20" fmla="*/ 22 w 545"/>
                <a:gd name="T21" fmla="*/ 377 h 541"/>
                <a:gd name="T22" fmla="*/ 73 w 545"/>
                <a:gd name="T23" fmla="*/ 456 h 541"/>
                <a:gd name="T24" fmla="*/ 149 w 545"/>
                <a:gd name="T25" fmla="*/ 513 h 541"/>
                <a:gd name="T26" fmla="*/ 239 w 545"/>
                <a:gd name="T27" fmla="*/ 541 h 541"/>
                <a:gd name="T28" fmla="*/ 334 w 545"/>
                <a:gd name="T29" fmla="*/ 536 h 541"/>
                <a:gd name="T30" fmla="*/ 421 w 545"/>
                <a:gd name="T31" fmla="*/ 499 h 541"/>
                <a:gd name="T32" fmla="*/ 490 w 545"/>
                <a:gd name="T33" fmla="*/ 434 h 541"/>
                <a:gd name="T34" fmla="*/ 533 w 545"/>
                <a:gd name="T35" fmla="*/ 350 h 541"/>
                <a:gd name="T36" fmla="*/ 448 w 545"/>
                <a:gd name="T37" fmla="*/ 154 h 541"/>
                <a:gd name="T38" fmla="*/ 448 w 545"/>
                <a:gd name="T39" fmla="*/ 154 h 541"/>
                <a:gd name="T40" fmla="*/ 399 w 545"/>
                <a:gd name="T41" fmla="*/ 114 h 541"/>
                <a:gd name="T42" fmla="*/ 349 w 545"/>
                <a:gd name="T43" fmla="*/ 74 h 541"/>
                <a:gd name="T44" fmla="*/ 277 w 545"/>
                <a:gd name="T45" fmla="*/ 60 h 541"/>
                <a:gd name="T46" fmla="*/ 194 w 545"/>
                <a:gd name="T47" fmla="*/ 66 h 541"/>
                <a:gd name="T48" fmla="*/ 194 w 545"/>
                <a:gd name="T49" fmla="*/ 66 h 541"/>
                <a:gd name="T50" fmla="*/ 128 w 545"/>
                <a:gd name="T51" fmla="*/ 117 h 541"/>
                <a:gd name="T52" fmla="*/ 74 w 545"/>
                <a:gd name="T53" fmla="*/ 239 h 541"/>
                <a:gd name="T54" fmla="*/ 58 w 545"/>
                <a:gd name="T55" fmla="*/ 312 h 541"/>
                <a:gd name="T56" fmla="*/ 81 w 545"/>
                <a:gd name="T57" fmla="*/ 164 h 541"/>
                <a:gd name="T58" fmla="*/ 81 w 545"/>
                <a:gd name="T59" fmla="*/ 164 h 541"/>
                <a:gd name="T60" fmla="*/ 100 w 545"/>
                <a:gd name="T61" fmla="*/ 374 h 541"/>
                <a:gd name="T62" fmla="*/ 134 w 545"/>
                <a:gd name="T63" fmla="*/ 428 h 541"/>
                <a:gd name="T64" fmla="*/ 201 w 545"/>
                <a:gd name="T65" fmla="*/ 477 h 541"/>
                <a:gd name="T66" fmla="*/ 276 w 545"/>
                <a:gd name="T67" fmla="*/ 489 h 541"/>
                <a:gd name="T68" fmla="*/ 276 w 545"/>
                <a:gd name="T69" fmla="*/ 489 h 541"/>
                <a:gd name="T70" fmla="*/ 356 w 545"/>
                <a:gd name="T71" fmla="*/ 463 h 541"/>
                <a:gd name="T72" fmla="*/ 405 w 545"/>
                <a:gd name="T73" fmla="*/ 422 h 541"/>
                <a:gd name="T74" fmla="*/ 413 w 545"/>
                <a:gd name="T75" fmla="*/ 317 h 541"/>
                <a:gd name="T76" fmla="*/ 389 w 545"/>
                <a:gd name="T77" fmla="*/ 362 h 541"/>
                <a:gd name="T78" fmla="*/ 350 w 545"/>
                <a:gd name="T79" fmla="*/ 396 h 541"/>
                <a:gd name="T80" fmla="*/ 303 w 545"/>
                <a:gd name="T81" fmla="*/ 416 h 541"/>
                <a:gd name="T82" fmla="*/ 251 w 545"/>
                <a:gd name="T83" fmla="*/ 417 h 541"/>
                <a:gd name="T84" fmla="*/ 202 w 545"/>
                <a:gd name="T85" fmla="*/ 401 h 541"/>
                <a:gd name="T86" fmla="*/ 162 w 545"/>
                <a:gd name="T87" fmla="*/ 369 h 541"/>
                <a:gd name="T88" fmla="*/ 135 w 545"/>
                <a:gd name="T89" fmla="*/ 325 h 541"/>
                <a:gd name="T90" fmla="*/ 124 w 545"/>
                <a:gd name="T91" fmla="*/ 275 h 541"/>
                <a:gd name="T92" fmla="*/ 104 w 545"/>
                <a:gd name="T93" fmla="*/ 219 h 541"/>
                <a:gd name="T94" fmla="*/ 131 w 545"/>
                <a:gd name="T95" fmla="*/ 164 h 541"/>
                <a:gd name="T96" fmla="*/ 176 w 545"/>
                <a:gd name="T97" fmla="*/ 122 h 541"/>
                <a:gd name="T98" fmla="*/ 233 w 545"/>
                <a:gd name="T99" fmla="*/ 98 h 541"/>
                <a:gd name="T100" fmla="*/ 294 w 545"/>
                <a:gd name="T101" fmla="*/ 95 h 541"/>
                <a:gd name="T102" fmla="*/ 352 w 545"/>
                <a:gd name="T103" fmla="*/ 113 h 541"/>
                <a:gd name="T104" fmla="*/ 401 w 545"/>
                <a:gd name="T105" fmla="*/ 150 h 541"/>
                <a:gd name="T106" fmla="*/ 435 w 545"/>
                <a:gd name="T107" fmla="*/ 201 h 541"/>
                <a:gd name="T108" fmla="*/ 449 w 545"/>
                <a:gd name="T109" fmla="*/ 261 h 541"/>
                <a:gd name="T110" fmla="*/ 449 w 545"/>
                <a:gd name="T111" fmla="*/ 280 h 541"/>
                <a:gd name="T112" fmla="*/ 449 w 545"/>
                <a:gd name="T113" fmla="*/ 368 h 541"/>
                <a:gd name="T114" fmla="*/ 487 w 545"/>
                <a:gd name="T115" fmla="*/ 228 h 541"/>
                <a:gd name="T116" fmla="*/ 489 w 545"/>
                <a:gd name="T117" fmla="*/ 304 h 541"/>
                <a:gd name="T118" fmla="*/ 489 w 545"/>
                <a:gd name="T119" fmla="*/ 30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5" h="541">
                  <a:moveTo>
                    <a:pt x="502" y="270"/>
                  </a:moveTo>
                  <a:cubicBezTo>
                    <a:pt x="502" y="268"/>
                    <a:pt x="502" y="266"/>
                    <a:pt x="501" y="263"/>
                  </a:cubicBezTo>
                  <a:cubicBezTo>
                    <a:pt x="545" y="256"/>
                    <a:pt x="545" y="256"/>
                    <a:pt x="545" y="256"/>
                  </a:cubicBezTo>
                  <a:cubicBezTo>
                    <a:pt x="533" y="191"/>
                    <a:pt x="533" y="191"/>
                    <a:pt x="533" y="191"/>
                  </a:cubicBezTo>
                  <a:cubicBezTo>
                    <a:pt x="490" y="198"/>
                    <a:pt x="490" y="198"/>
                    <a:pt x="490" y="198"/>
                  </a:cubicBezTo>
                  <a:cubicBezTo>
                    <a:pt x="489" y="194"/>
                    <a:pt x="487" y="190"/>
                    <a:pt x="485" y="185"/>
                  </a:cubicBezTo>
                  <a:cubicBezTo>
                    <a:pt x="523" y="164"/>
                    <a:pt x="523" y="164"/>
                    <a:pt x="523" y="164"/>
                  </a:cubicBezTo>
                  <a:cubicBezTo>
                    <a:pt x="490" y="106"/>
                    <a:pt x="490" y="106"/>
                    <a:pt x="490" y="106"/>
                  </a:cubicBezTo>
                  <a:cubicBezTo>
                    <a:pt x="452" y="128"/>
                    <a:pt x="452" y="128"/>
                    <a:pt x="452" y="128"/>
                  </a:cubicBezTo>
                  <a:cubicBezTo>
                    <a:pt x="449" y="125"/>
                    <a:pt x="447" y="121"/>
                    <a:pt x="444" y="118"/>
                  </a:cubicBezTo>
                  <a:cubicBezTo>
                    <a:pt x="472" y="84"/>
                    <a:pt x="472" y="84"/>
                    <a:pt x="472" y="84"/>
                  </a:cubicBezTo>
                  <a:cubicBezTo>
                    <a:pt x="421" y="42"/>
                    <a:pt x="421" y="42"/>
                    <a:pt x="421" y="42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89" y="73"/>
                    <a:pt x="385" y="70"/>
                    <a:pt x="381" y="68"/>
                  </a:cubicBezTo>
                  <a:cubicBezTo>
                    <a:pt x="396" y="27"/>
                    <a:pt x="396" y="27"/>
                    <a:pt x="396" y="27"/>
                  </a:cubicBezTo>
                  <a:cubicBezTo>
                    <a:pt x="334" y="5"/>
                    <a:pt x="334" y="5"/>
                    <a:pt x="334" y="5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15" y="45"/>
                    <a:pt x="310" y="44"/>
                    <a:pt x="305" y="43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35" y="44"/>
                    <a:pt x="230" y="45"/>
                    <a:pt x="226" y="46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0" y="70"/>
                    <a:pt x="156" y="73"/>
                    <a:pt x="152" y="75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101" y="118"/>
                    <a:pt x="101" y="118"/>
                    <a:pt x="101" y="118"/>
                  </a:cubicBezTo>
                  <a:cubicBezTo>
                    <a:pt x="98" y="121"/>
                    <a:pt x="95" y="125"/>
                    <a:pt x="93" y="12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8" y="190"/>
                    <a:pt x="56" y="194"/>
                    <a:pt x="55" y="198"/>
                  </a:cubicBezTo>
                  <a:cubicBezTo>
                    <a:pt x="12" y="191"/>
                    <a:pt x="12" y="191"/>
                    <a:pt x="12" y="19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6"/>
                    <a:pt x="43" y="268"/>
                    <a:pt x="43" y="270"/>
                  </a:cubicBezTo>
                  <a:cubicBezTo>
                    <a:pt x="43" y="272"/>
                    <a:pt x="43" y="275"/>
                    <a:pt x="43" y="277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2" y="350"/>
                    <a:pt x="12" y="350"/>
                    <a:pt x="12" y="350"/>
                  </a:cubicBezTo>
                  <a:cubicBezTo>
                    <a:pt x="55" y="342"/>
                    <a:pt x="55" y="342"/>
                    <a:pt x="55" y="342"/>
                  </a:cubicBezTo>
                  <a:cubicBezTo>
                    <a:pt x="56" y="346"/>
                    <a:pt x="58" y="351"/>
                    <a:pt x="59" y="355"/>
                  </a:cubicBezTo>
                  <a:cubicBezTo>
                    <a:pt x="22" y="377"/>
                    <a:pt x="22" y="377"/>
                    <a:pt x="22" y="377"/>
                  </a:cubicBezTo>
                  <a:cubicBezTo>
                    <a:pt x="55" y="434"/>
                    <a:pt x="55" y="434"/>
                    <a:pt x="55" y="434"/>
                  </a:cubicBezTo>
                  <a:cubicBezTo>
                    <a:pt x="93" y="412"/>
                    <a:pt x="93" y="412"/>
                    <a:pt x="93" y="412"/>
                  </a:cubicBezTo>
                  <a:cubicBezTo>
                    <a:pt x="95" y="416"/>
                    <a:pt x="98" y="419"/>
                    <a:pt x="101" y="423"/>
                  </a:cubicBezTo>
                  <a:cubicBezTo>
                    <a:pt x="73" y="456"/>
                    <a:pt x="73" y="456"/>
                    <a:pt x="73" y="456"/>
                  </a:cubicBezTo>
                  <a:cubicBezTo>
                    <a:pt x="124" y="499"/>
                    <a:pt x="124" y="499"/>
                    <a:pt x="124" y="499"/>
                  </a:cubicBezTo>
                  <a:cubicBezTo>
                    <a:pt x="152" y="465"/>
                    <a:pt x="152" y="465"/>
                    <a:pt x="152" y="465"/>
                  </a:cubicBezTo>
                  <a:cubicBezTo>
                    <a:pt x="156" y="468"/>
                    <a:pt x="160" y="470"/>
                    <a:pt x="164" y="472"/>
                  </a:cubicBezTo>
                  <a:cubicBezTo>
                    <a:pt x="149" y="513"/>
                    <a:pt x="149" y="513"/>
                    <a:pt x="149" y="513"/>
                  </a:cubicBezTo>
                  <a:cubicBezTo>
                    <a:pt x="211" y="536"/>
                    <a:pt x="211" y="536"/>
                    <a:pt x="211" y="536"/>
                  </a:cubicBezTo>
                  <a:cubicBezTo>
                    <a:pt x="226" y="495"/>
                    <a:pt x="226" y="495"/>
                    <a:pt x="226" y="495"/>
                  </a:cubicBezTo>
                  <a:cubicBezTo>
                    <a:pt x="230" y="496"/>
                    <a:pt x="235" y="496"/>
                    <a:pt x="239" y="497"/>
                  </a:cubicBezTo>
                  <a:cubicBezTo>
                    <a:pt x="239" y="541"/>
                    <a:pt x="239" y="541"/>
                    <a:pt x="239" y="541"/>
                  </a:cubicBezTo>
                  <a:cubicBezTo>
                    <a:pt x="305" y="541"/>
                    <a:pt x="305" y="541"/>
                    <a:pt x="305" y="541"/>
                  </a:cubicBezTo>
                  <a:cubicBezTo>
                    <a:pt x="305" y="497"/>
                    <a:pt x="305" y="497"/>
                    <a:pt x="305" y="497"/>
                  </a:cubicBezTo>
                  <a:cubicBezTo>
                    <a:pt x="310" y="496"/>
                    <a:pt x="315" y="496"/>
                    <a:pt x="319" y="495"/>
                  </a:cubicBezTo>
                  <a:cubicBezTo>
                    <a:pt x="334" y="536"/>
                    <a:pt x="334" y="536"/>
                    <a:pt x="334" y="536"/>
                  </a:cubicBezTo>
                  <a:cubicBezTo>
                    <a:pt x="396" y="513"/>
                    <a:pt x="396" y="513"/>
                    <a:pt x="396" y="513"/>
                  </a:cubicBezTo>
                  <a:cubicBezTo>
                    <a:pt x="381" y="472"/>
                    <a:pt x="381" y="472"/>
                    <a:pt x="381" y="472"/>
                  </a:cubicBezTo>
                  <a:cubicBezTo>
                    <a:pt x="385" y="470"/>
                    <a:pt x="389" y="468"/>
                    <a:pt x="393" y="465"/>
                  </a:cubicBezTo>
                  <a:cubicBezTo>
                    <a:pt x="421" y="499"/>
                    <a:pt x="421" y="499"/>
                    <a:pt x="421" y="499"/>
                  </a:cubicBezTo>
                  <a:cubicBezTo>
                    <a:pt x="472" y="456"/>
                    <a:pt x="472" y="456"/>
                    <a:pt x="472" y="456"/>
                  </a:cubicBezTo>
                  <a:cubicBezTo>
                    <a:pt x="444" y="423"/>
                    <a:pt x="444" y="423"/>
                    <a:pt x="444" y="423"/>
                  </a:cubicBezTo>
                  <a:cubicBezTo>
                    <a:pt x="447" y="419"/>
                    <a:pt x="449" y="416"/>
                    <a:pt x="452" y="412"/>
                  </a:cubicBezTo>
                  <a:cubicBezTo>
                    <a:pt x="490" y="434"/>
                    <a:pt x="490" y="434"/>
                    <a:pt x="490" y="434"/>
                  </a:cubicBezTo>
                  <a:cubicBezTo>
                    <a:pt x="523" y="377"/>
                    <a:pt x="523" y="377"/>
                    <a:pt x="523" y="377"/>
                  </a:cubicBezTo>
                  <a:cubicBezTo>
                    <a:pt x="485" y="355"/>
                    <a:pt x="485" y="355"/>
                    <a:pt x="485" y="355"/>
                  </a:cubicBezTo>
                  <a:cubicBezTo>
                    <a:pt x="487" y="351"/>
                    <a:pt x="489" y="346"/>
                    <a:pt x="490" y="342"/>
                  </a:cubicBezTo>
                  <a:cubicBezTo>
                    <a:pt x="533" y="350"/>
                    <a:pt x="533" y="350"/>
                    <a:pt x="533" y="350"/>
                  </a:cubicBezTo>
                  <a:cubicBezTo>
                    <a:pt x="545" y="285"/>
                    <a:pt x="545" y="285"/>
                    <a:pt x="545" y="285"/>
                  </a:cubicBezTo>
                  <a:cubicBezTo>
                    <a:pt x="501" y="277"/>
                    <a:pt x="501" y="277"/>
                    <a:pt x="501" y="277"/>
                  </a:cubicBezTo>
                  <a:cubicBezTo>
                    <a:pt x="502" y="275"/>
                    <a:pt x="502" y="272"/>
                    <a:pt x="502" y="270"/>
                  </a:cubicBezTo>
                  <a:close/>
                  <a:moveTo>
                    <a:pt x="448" y="154"/>
                  </a:moveTo>
                  <a:cubicBezTo>
                    <a:pt x="452" y="152"/>
                    <a:pt x="458" y="153"/>
                    <a:pt x="460" y="157"/>
                  </a:cubicBezTo>
                  <a:cubicBezTo>
                    <a:pt x="462" y="162"/>
                    <a:pt x="461" y="167"/>
                    <a:pt x="457" y="169"/>
                  </a:cubicBezTo>
                  <a:cubicBezTo>
                    <a:pt x="453" y="172"/>
                    <a:pt x="447" y="170"/>
                    <a:pt x="445" y="166"/>
                  </a:cubicBezTo>
                  <a:cubicBezTo>
                    <a:pt x="442" y="162"/>
                    <a:pt x="444" y="157"/>
                    <a:pt x="448" y="154"/>
                  </a:cubicBezTo>
                  <a:close/>
                  <a:moveTo>
                    <a:pt x="398" y="101"/>
                  </a:moveTo>
                  <a:cubicBezTo>
                    <a:pt x="401" y="97"/>
                    <a:pt x="406" y="97"/>
                    <a:pt x="410" y="100"/>
                  </a:cubicBezTo>
                  <a:cubicBezTo>
                    <a:pt x="414" y="103"/>
                    <a:pt x="414" y="109"/>
                    <a:pt x="411" y="112"/>
                  </a:cubicBezTo>
                  <a:cubicBezTo>
                    <a:pt x="408" y="116"/>
                    <a:pt x="403" y="117"/>
                    <a:pt x="399" y="114"/>
                  </a:cubicBezTo>
                  <a:cubicBezTo>
                    <a:pt x="395" y="110"/>
                    <a:pt x="395" y="105"/>
                    <a:pt x="398" y="101"/>
                  </a:cubicBezTo>
                  <a:close/>
                  <a:moveTo>
                    <a:pt x="332" y="68"/>
                  </a:moveTo>
                  <a:cubicBezTo>
                    <a:pt x="334" y="64"/>
                    <a:pt x="339" y="62"/>
                    <a:pt x="344" y="63"/>
                  </a:cubicBezTo>
                  <a:cubicBezTo>
                    <a:pt x="348" y="65"/>
                    <a:pt x="351" y="70"/>
                    <a:pt x="349" y="74"/>
                  </a:cubicBezTo>
                  <a:cubicBezTo>
                    <a:pt x="347" y="79"/>
                    <a:pt x="342" y="81"/>
                    <a:pt x="338" y="80"/>
                  </a:cubicBezTo>
                  <a:cubicBezTo>
                    <a:pt x="333" y="78"/>
                    <a:pt x="331" y="73"/>
                    <a:pt x="332" y="68"/>
                  </a:cubicBezTo>
                  <a:close/>
                  <a:moveTo>
                    <a:pt x="269" y="51"/>
                  </a:moveTo>
                  <a:cubicBezTo>
                    <a:pt x="273" y="51"/>
                    <a:pt x="277" y="55"/>
                    <a:pt x="277" y="60"/>
                  </a:cubicBezTo>
                  <a:cubicBezTo>
                    <a:pt x="277" y="65"/>
                    <a:pt x="273" y="69"/>
                    <a:pt x="269" y="69"/>
                  </a:cubicBezTo>
                  <a:cubicBezTo>
                    <a:pt x="264" y="69"/>
                    <a:pt x="260" y="65"/>
                    <a:pt x="260" y="60"/>
                  </a:cubicBezTo>
                  <a:cubicBezTo>
                    <a:pt x="260" y="55"/>
                    <a:pt x="264" y="51"/>
                    <a:pt x="269" y="51"/>
                  </a:cubicBezTo>
                  <a:close/>
                  <a:moveTo>
                    <a:pt x="194" y="66"/>
                  </a:moveTo>
                  <a:cubicBezTo>
                    <a:pt x="199" y="64"/>
                    <a:pt x="204" y="67"/>
                    <a:pt x="205" y="71"/>
                  </a:cubicBezTo>
                  <a:cubicBezTo>
                    <a:pt x="207" y="76"/>
                    <a:pt x="205" y="81"/>
                    <a:pt x="200" y="82"/>
                  </a:cubicBezTo>
                  <a:cubicBezTo>
                    <a:pt x="195" y="84"/>
                    <a:pt x="190" y="82"/>
                    <a:pt x="189" y="77"/>
                  </a:cubicBezTo>
                  <a:cubicBezTo>
                    <a:pt x="187" y="73"/>
                    <a:pt x="189" y="67"/>
                    <a:pt x="194" y="66"/>
                  </a:cubicBezTo>
                  <a:close/>
                  <a:moveTo>
                    <a:pt x="129" y="105"/>
                  </a:moveTo>
                  <a:cubicBezTo>
                    <a:pt x="133" y="102"/>
                    <a:pt x="138" y="102"/>
                    <a:pt x="141" y="106"/>
                  </a:cubicBezTo>
                  <a:cubicBezTo>
                    <a:pt x="144" y="110"/>
                    <a:pt x="144" y="115"/>
                    <a:pt x="140" y="118"/>
                  </a:cubicBezTo>
                  <a:cubicBezTo>
                    <a:pt x="136" y="122"/>
                    <a:pt x="131" y="121"/>
                    <a:pt x="128" y="117"/>
                  </a:cubicBezTo>
                  <a:cubicBezTo>
                    <a:pt x="125" y="114"/>
                    <a:pt x="125" y="108"/>
                    <a:pt x="129" y="105"/>
                  </a:cubicBezTo>
                  <a:close/>
                  <a:moveTo>
                    <a:pt x="56" y="236"/>
                  </a:moveTo>
                  <a:cubicBezTo>
                    <a:pt x="57" y="231"/>
                    <a:pt x="62" y="228"/>
                    <a:pt x="66" y="229"/>
                  </a:cubicBezTo>
                  <a:cubicBezTo>
                    <a:pt x="71" y="230"/>
                    <a:pt x="74" y="234"/>
                    <a:pt x="74" y="239"/>
                  </a:cubicBezTo>
                  <a:cubicBezTo>
                    <a:pt x="73" y="244"/>
                    <a:pt x="68" y="247"/>
                    <a:pt x="63" y="246"/>
                  </a:cubicBezTo>
                  <a:cubicBezTo>
                    <a:pt x="59" y="245"/>
                    <a:pt x="55" y="241"/>
                    <a:pt x="56" y="236"/>
                  </a:cubicBezTo>
                  <a:close/>
                  <a:moveTo>
                    <a:pt x="68" y="319"/>
                  </a:moveTo>
                  <a:cubicBezTo>
                    <a:pt x="63" y="320"/>
                    <a:pt x="58" y="317"/>
                    <a:pt x="58" y="312"/>
                  </a:cubicBezTo>
                  <a:cubicBezTo>
                    <a:pt x="57" y="307"/>
                    <a:pt x="60" y="303"/>
                    <a:pt x="65" y="302"/>
                  </a:cubicBezTo>
                  <a:cubicBezTo>
                    <a:pt x="69" y="301"/>
                    <a:pt x="74" y="304"/>
                    <a:pt x="75" y="309"/>
                  </a:cubicBezTo>
                  <a:cubicBezTo>
                    <a:pt x="76" y="314"/>
                    <a:pt x="72" y="318"/>
                    <a:pt x="68" y="319"/>
                  </a:cubicBezTo>
                  <a:close/>
                  <a:moveTo>
                    <a:pt x="81" y="164"/>
                  </a:moveTo>
                  <a:cubicBezTo>
                    <a:pt x="83" y="160"/>
                    <a:pt x="89" y="158"/>
                    <a:pt x="93" y="161"/>
                  </a:cubicBezTo>
                  <a:cubicBezTo>
                    <a:pt x="97" y="163"/>
                    <a:pt x="99" y="169"/>
                    <a:pt x="96" y="173"/>
                  </a:cubicBezTo>
                  <a:cubicBezTo>
                    <a:pt x="94" y="177"/>
                    <a:pt x="88" y="178"/>
                    <a:pt x="84" y="176"/>
                  </a:cubicBezTo>
                  <a:cubicBezTo>
                    <a:pt x="80" y="174"/>
                    <a:pt x="79" y="168"/>
                    <a:pt x="81" y="164"/>
                  </a:cubicBezTo>
                  <a:close/>
                  <a:moveTo>
                    <a:pt x="97" y="386"/>
                  </a:moveTo>
                  <a:cubicBezTo>
                    <a:pt x="93" y="389"/>
                    <a:pt x="87" y="387"/>
                    <a:pt x="85" y="383"/>
                  </a:cubicBezTo>
                  <a:cubicBezTo>
                    <a:pt x="82" y="379"/>
                    <a:pt x="84" y="373"/>
                    <a:pt x="88" y="371"/>
                  </a:cubicBezTo>
                  <a:cubicBezTo>
                    <a:pt x="92" y="368"/>
                    <a:pt x="98" y="370"/>
                    <a:pt x="100" y="374"/>
                  </a:cubicBezTo>
                  <a:cubicBezTo>
                    <a:pt x="102" y="378"/>
                    <a:pt x="101" y="384"/>
                    <a:pt x="97" y="386"/>
                  </a:cubicBezTo>
                  <a:close/>
                  <a:moveTo>
                    <a:pt x="147" y="439"/>
                  </a:moveTo>
                  <a:cubicBezTo>
                    <a:pt x="144" y="443"/>
                    <a:pt x="138" y="443"/>
                    <a:pt x="135" y="440"/>
                  </a:cubicBezTo>
                  <a:cubicBezTo>
                    <a:pt x="131" y="437"/>
                    <a:pt x="130" y="432"/>
                    <a:pt x="134" y="428"/>
                  </a:cubicBezTo>
                  <a:cubicBezTo>
                    <a:pt x="137" y="424"/>
                    <a:pt x="142" y="424"/>
                    <a:pt x="146" y="427"/>
                  </a:cubicBezTo>
                  <a:cubicBezTo>
                    <a:pt x="150" y="430"/>
                    <a:pt x="150" y="435"/>
                    <a:pt x="147" y="439"/>
                  </a:cubicBezTo>
                  <a:close/>
                  <a:moveTo>
                    <a:pt x="212" y="472"/>
                  </a:moveTo>
                  <a:cubicBezTo>
                    <a:pt x="211" y="476"/>
                    <a:pt x="206" y="479"/>
                    <a:pt x="201" y="477"/>
                  </a:cubicBezTo>
                  <a:cubicBezTo>
                    <a:pt x="197" y="475"/>
                    <a:pt x="194" y="470"/>
                    <a:pt x="196" y="466"/>
                  </a:cubicBezTo>
                  <a:cubicBezTo>
                    <a:pt x="198" y="461"/>
                    <a:pt x="203" y="459"/>
                    <a:pt x="207" y="461"/>
                  </a:cubicBezTo>
                  <a:cubicBezTo>
                    <a:pt x="212" y="462"/>
                    <a:pt x="214" y="467"/>
                    <a:pt x="212" y="472"/>
                  </a:cubicBezTo>
                  <a:close/>
                  <a:moveTo>
                    <a:pt x="276" y="489"/>
                  </a:moveTo>
                  <a:cubicBezTo>
                    <a:pt x="271" y="489"/>
                    <a:pt x="267" y="485"/>
                    <a:pt x="267" y="480"/>
                  </a:cubicBezTo>
                  <a:cubicBezTo>
                    <a:pt x="267" y="475"/>
                    <a:pt x="271" y="471"/>
                    <a:pt x="276" y="471"/>
                  </a:cubicBezTo>
                  <a:cubicBezTo>
                    <a:pt x="281" y="471"/>
                    <a:pt x="285" y="475"/>
                    <a:pt x="285" y="480"/>
                  </a:cubicBezTo>
                  <a:cubicBezTo>
                    <a:pt x="285" y="485"/>
                    <a:pt x="281" y="489"/>
                    <a:pt x="276" y="489"/>
                  </a:cubicBezTo>
                  <a:close/>
                  <a:moveTo>
                    <a:pt x="351" y="475"/>
                  </a:moveTo>
                  <a:cubicBezTo>
                    <a:pt x="346" y="476"/>
                    <a:pt x="341" y="474"/>
                    <a:pt x="340" y="469"/>
                  </a:cubicBezTo>
                  <a:cubicBezTo>
                    <a:pt x="338" y="465"/>
                    <a:pt x="340" y="460"/>
                    <a:pt x="345" y="458"/>
                  </a:cubicBezTo>
                  <a:cubicBezTo>
                    <a:pt x="349" y="456"/>
                    <a:pt x="354" y="459"/>
                    <a:pt x="356" y="463"/>
                  </a:cubicBezTo>
                  <a:cubicBezTo>
                    <a:pt x="358" y="468"/>
                    <a:pt x="355" y="473"/>
                    <a:pt x="351" y="475"/>
                  </a:cubicBezTo>
                  <a:close/>
                  <a:moveTo>
                    <a:pt x="416" y="435"/>
                  </a:moveTo>
                  <a:cubicBezTo>
                    <a:pt x="412" y="439"/>
                    <a:pt x="407" y="438"/>
                    <a:pt x="404" y="434"/>
                  </a:cubicBezTo>
                  <a:cubicBezTo>
                    <a:pt x="401" y="431"/>
                    <a:pt x="401" y="425"/>
                    <a:pt x="405" y="422"/>
                  </a:cubicBezTo>
                  <a:cubicBezTo>
                    <a:pt x="408" y="419"/>
                    <a:pt x="414" y="419"/>
                    <a:pt x="417" y="423"/>
                  </a:cubicBezTo>
                  <a:cubicBezTo>
                    <a:pt x="420" y="427"/>
                    <a:pt x="420" y="432"/>
                    <a:pt x="416" y="435"/>
                  </a:cubicBezTo>
                  <a:close/>
                  <a:moveTo>
                    <a:pt x="441" y="322"/>
                  </a:moveTo>
                  <a:cubicBezTo>
                    <a:pt x="413" y="317"/>
                    <a:pt x="413" y="317"/>
                    <a:pt x="413" y="317"/>
                  </a:cubicBezTo>
                  <a:cubicBezTo>
                    <a:pt x="412" y="320"/>
                    <a:pt x="411" y="322"/>
                    <a:pt x="410" y="325"/>
                  </a:cubicBezTo>
                  <a:cubicBezTo>
                    <a:pt x="435" y="339"/>
                    <a:pt x="435" y="339"/>
                    <a:pt x="435" y="339"/>
                  </a:cubicBezTo>
                  <a:cubicBezTo>
                    <a:pt x="413" y="376"/>
                    <a:pt x="413" y="376"/>
                    <a:pt x="413" y="376"/>
                  </a:cubicBezTo>
                  <a:cubicBezTo>
                    <a:pt x="389" y="362"/>
                    <a:pt x="389" y="362"/>
                    <a:pt x="389" y="362"/>
                  </a:cubicBezTo>
                  <a:cubicBezTo>
                    <a:pt x="387" y="364"/>
                    <a:pt x="385" y="367"/>
                    <a:pt x="383" y="369"/>
                  </a:cubicBezTo>
                  <a:cubicBezTo>
                    <a:pt x="401" y="391"/>
                    <a:pt x="401" y="391"/>
                    <a:pt x="401" y="391"/>
                  </a:cubicBezTo>
                  <a:cubicBezTo>
                    <a:pt x="369" y="418"/>
                    <a:pt x="369" y="418"/>
                    <a:pt x="369" y="418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48" y="398"/>
                    <a:pt x="345" y="399"/>
                    <a:pt x="343" y="401"/>
                  </a:cubicBezTo>
                  <a:cubicBezTo>
                    <a:pt x="352" y="427"/>
                    <a:pt x="352" y="427"/>
                    <a:pt x="352" y="427"/>
                  </a:cubicBezTo>
                  <a:cubicBezTo>
                    <a:pt x="312" y="442"/>
                    <a:pt x="312" y="442"/>
                    <a:pt x="312" y="442"/>
                  </a:cubicBezTo>
                  <a:cubicBezTo>
                    <a:pt x="303" y="416"/>
                    <a:pt x="303" y="416"/>
                    <a:pt x="303" y="416"/>
                  </a:cubicBezTo>
                  <a:cubicBezTo>
                    <a:pt x="300" y="416"/>
                    <a:pt x="297" y="417"/>
                    <a:pt x="294" y="417"/>
                  </a:cubicBezTo>
                  <a:cubicBezTo>
                    <a:pt x="294" y="445"/>
                    <a:pt x="294" y="445"/>
                    <a:pt x="294" y="445"/>
                  </a:cubicBezTo>
                  <a:cubicBezTo>
                    <a:pt x="251" y="445"/>
                    <a:pt x="251" y="445"/>
                    <a:pt x="251" y="445"/>
                  </a:cubicBezTo>
                  <a:cubicBezTo>
                    <a:pt x="251" y="417"/>
                    <a:pt x="251" y="417"/>
                    <a:pt x="251" y="417"/>
                  </a:cubicBezTo>
                  <a:cubicBezTo>
                    <a:pt x="248" y="417"/>
                    <a:pt x="245" y="416"/>
                    <a:pt x="242" y="416"/>
                  </a:cubicBezTo>
                  <a:cubicBezTo>
                    <a:pt x="233" y="442"/>
                    <a:pt x="233" y="442"/>
                    <a:pt x="233" y="442"/>
                  </a:cubicBezTo>
                  <a:cubicBezTo>
                    <a:pt x="192" y="427"/>
                    <a:pt x="192" y="427"/>
                    <a:pt x="192" y="427"/>
                  </a:cubicBezTo>
                  <a:cubicBezTo>
                    <a:pt x="202" y="401"/>
                    <a:pt x="202" y="401"/>
                    <a:pt x="202" y="401"/>
                  </a:cubicBezTo>
                  <a:cubicBezTo>
                    <a:pt x="199" y="399"/>
                    <a:pt x="197" y="398"/>
                    <a:pt x="194" y="396"/>
                  </a:cubicBezTo>
                  <a:cubicBezTo>
                    <a:pt x="176" y="418"/>
                    <a:pt x="176" y="418"/>
                    <a:pt x="176" y="418"/>
                  </a:cubicBezTo>
                  <a:cubicBezTo>
                    <a:pt x="143" y="391"/>
                    <a:pt x="143" y="391"/>
                    <a:pt x="143" y="391"/>
                  </a:cubicBezTo>
                  <a:cubicBezTo>
                    <a:pt x="162" y="369"/>
                    <a:pt x="162" y="369"/>
                    <a:pt x="162" y="369"/>
                  </a:cubicBezTo>
                  <a:cubicBezTo>
                    <a:pt x="160" y="367"/>
                    <a:pt x="158" y="364"/>
                    <a:pt x="156" y="362"/>
                  </a:cubicBezTo>
                  <a:cubicBezTo>
                    <a:pt x="131" y="376"/>
                    <a:pt x="131" y="376"/>
                    <a:pt x="131" y="376"/>
                  </a:cubicBezTo>
                  <a:cubicBezTo>
                    <a:pt x="110" y="339"/>
                    <a:pt x="110" y="339"/>
                    <a:pt x="110" y="339"/>
                  </a:cubicBezTo>
                  <a:cubicBezTo>
                    <a:pt x="135" y="325"/>
                    <a:pt x="135" y="325"/>
                    <a:pt x="135" y="325"/>
                  </a:cubicBezTo>
                  <a:cubicBezTo>
                    <a:pt x="133" y="322"/>
                    <a:pt x="132" y="320"/>
                    <a:pt x="132" y="317"/>
                  </a:cubicBezTo>
                  <a:cubicBezTo>
                    <a:pt x="104" y="322"/>
                    <a:pt x="104" y="322"/>
                    <a:pt x="104" y="322"/>
                  </a:cubicBezTo>
                  <a:cubicBezTo>
                    <a:pt x="96" y="280"/>
                    <a:pt x="96" y="280"/>
                    <a:pt x="96" y="280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273"/>
                    <a:pt x="124" y="272"/>
                    <a:pt x="124" y="270"/>
                  </a:cubicBezTo>
                  <a:cubicBezTo>
                    <a:pt x="124" y="269"/>
                    <a:pt x="124" y="267"/>
                    <a:pt x="124" y="266"/>
                  </a:cubicBezTo>
                  <a:cubicBezTo>
                    <a:pt x="96" y="261"/>
                    <a:pt x="96" y="261"/>
                    <a:pt x="96" y="261"/>
                  </a:cubicBezTo>
                  <a:cubicBezTo>
                    <a:pt x="104" y="219"/>
                    <a:pt x="104" y="219"/>
                    <a:pt x="104" y="219"/>
                  </a:cubicBezTo>
                  <a:cubicBezTo>
                    <a:pt x="132" y="224"/>
                    <a:pt x="132" y="224"/>
                    <a:pt x="132" y="224"/>
                  </a:cubicBezTo>
                  <a:cubicBezTo>
                    <a:pt x="132" y="221"/>
                    <a:pt x="133" y="218"/>
                    <a:pt x="135" y="215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31" y="164"/>
                    <a:pt x="131" y="164"/>
                    <a:pt x="131" y="164"/>
                  </a:cubicBezTo>
                  <a:cubicBezTo>
                    <a:pt x="156" y="178"/>
                    <a:pt x="156" y="178"/>
                    <a:pt x="156" y="178"/>
                  </a:cubicBezTo>
                  <a:cubicBezTo>
                    <a:pt x="158" y="176"/>
                    <a:pt x="160" y="174"/>
                    <a:pt x="162" y="171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94" y="144"/>
                    <a:pt x="194" y="144"/>
                    <a:pt x="194" y="144"/>
                  </a:cubicBezTo>
                  <a:cubicBezTo>
                    <a:pt x="197" y="142"/>
                    <a:pt x="199" y="141"/>
                    <a:pt x="202" y="139"/>
                  </a:cubicBezTo>
                  <a:cubicBezTo>
                    <a:pt x="192" y="113"/>
                    <a:pt x="192" y="113"/>
                    <a:pt x="192" y="113"/>
                  </a:cubicBezTo>
                  <a:cubicBezTo>
                    <a:pt x="233" y="98"/>
                    <a:pt x="233" y="98"/>
                    <a:pt x="233" y="98"/>
                  </a:cubicBezTo>
                  <a:cubicBezTo>
                    <a:pt x="242" y="125"/>
                    <a:pt x="242" y="125"/>
                    <a:pt x="242" y="125"/>
                  </a:cubicBezTo>
                  <a:cubicBezTo>
                    <a:pt x="245" y="124"/>
                    <a:pt x="248" y="124"/>
                    <a:pt x="251" y="123"/>
                  </a:cubicBezTo>
                  <a:cubicBezTo>
                    <a:pt x="251" y="95"/>
                    <a:pt x="251" y="95"/>
                    <a:pt x="251" y="95"/>
                  </a:cubicBezTo>
                  <a:cubicBezTo>
                    <a:pt x="294" y="95"/>
                    <a:pt x="294" y="95"/>
                    <a:pt x="294" y="95"/>
                  </a:cubicBezTo>
                  <a:cubicBezTo>
                    <a:pt x="294" y="123"/>
                    <a:pt x="294" y="123"/>
                    <a:pt x="294" y="123"/>
                  </a:cubicBezTo>
                  <a:cubicBezTo>
                    <a:pt x="297" y="124"/>
                    <a:pt x="300" y="124"/>
                    <a:pt x="303" y="125"/>
                  </a:cubicBezTo>
                  <a:cubicBezTo>
                    <a:pt x="312" y="98"/>
                    <a:pt x="312" y="98"/>
                    <a:pt x="312" y="98"/>
                  </a:cubicBezTo>
                  <a:cubicBezTo>
                    <a:pt x="352" y="113"/>
                    <a:pt x="352" y="113"/>
                    <a:pt x="352" y="113"/>
                  </a:cubicBezTo>
                  <a:cubicBezTo>
                    <a:pt x="343" y="139"/>
                    <a:pt x="343" y="139"/>
                    <a:pt x="343" y="139"/>
                  </a:cubicBezTo>
                  <a:cubicBezTo>
                    <a:pt x="345" y="141"/>
                    <a:pt x="348" y="142"/>
                    <a:pt x="350" y="144"/>
                  </a:cubicBezTo>
                  <a:cubicBezTo>
                    <a:pt x="369" y="122"/>
                    <a:pt x="369" y="122"/>
                    <a:pt x="369" y="122"/>
                  </a:cubicBezTo>
                  <a:cubicBezTo>
                    <a:pt x="401" y="150"/>
                    <a:pt x="401" y="150"/>
                    <a:pt x="401" y="150"/>
                  </a:cubicBezTo>
                  <a:cubicBezTo>
                    <a:pt x="383" y="171"/>
                    <a:pt x="383" y="171"/>
                    <a:pt x="383" y="171"/>
                  </a:cubicBezTo>
                  <a:cubicBezTo>
                    <a:pt x="385" y="174"/>
                    <a:pt x="387" y="176"/>
                    <a:pt x="389" y="178"/>
                  </a:cubicBezTo>
                  <a:cubicBezTo>
                    <a:pt x="413" y="164"/>
                    <a:pt x="413" y="164"/>
                    <a:pt x="413" y="164"/>
                  </a:cubicBezTo>
                  <a:cubicBezTo>
                    <a:pt x="435" y="201"/>
                    <a:pt x="435" y="201"/>
                    <a:pt x="435" y="201"/>
                  </a:cubicBezTo>
                  <a:cubicBezTo>
                    <a:pt x="410" y="215"/>
                    <a:pt x="410" y="215"/>
                    <a:pt x="410" y="215"/>
                  </a:cubicBezTo>
                  <a:cubicBezTo>
                    <a:pt x="411" y="218"/>
                    <a:pt x="412" y="221"/>
                    <a:pt x="413" y="224"/>
                  </a:cubicBezTo>
                  <a:cubicBezTo>
                    <a:pt x="441" y="219"/>
                    <a:pt x="441" y="219"/>
                    <a:pt x="441" y="219"/>
                  </a:cubicBezTo>
                  <a:cubicBezTo>
                    <a:pt x="449" y="261"/>
                    <a:pt x="449" y="261"/>
                    <a:pt x="449" y="261"/>
                  </a:cubicBezTo>
                  <a:cubicBezTo>
                    <a:pt x="421" y="266"/>
                    <a:pt x="421" y="266"/>
                    <a:pt x="421" y="266"/>
                  </a:cubicBezTo>
                  <a:cubicBezTo>
                    <a:pt x="421" y="267"/>
                    <a:pt x="421" y="269"/>
                    <a:pt x="421" y="270"/>
                  </a:cubicBezTo>
                  <a:cubicBezTo>
                    <a:pt x="421" y="272"/>
                    <a:pt x="421" y="273"/>
                    <a:pt x="421" y="275"/>
                  </a:cubicBezTo>
                  <a:cubicBezTo>
                    <a:pt x="449" y="280"/>
                    <a:pt x="449" y="280"/>
                    <a:pt x="449" y="280"/>
                  </a:cubicBezTo>
                  <a:lnTo>
                    <a:pt x="441" y="322"/>
                  </a:lnTo>
                  <a:close/>
                  <a:moveTo>
                    <a:pt x="464" y="376"/>
                  </a:moveTo>
                  <a:cubicBezTo>
                    <a:pt x="461" y="381"/>
                    <a:pt x="456" y="382"/>
                    <a:pt x="452" y="380"/>
                  </a:cubicBezTo>
                  <a:cubicBezTo>
                    <a:pt x="448" y="377"/>
                    <a:pt x="446" y="372"/>
                    <a:pt x="449" y="368"/>
                  </a:cubicBezTo>
                  <a:cubicBezTo>
                    <a:pt x="451" y="363"/>
                    <a:pt x="456" y="362"/>
                    <a:pt x="461" y="364"/>
                  </a:cubicBezTo>
                  <a:cubicBezTo>
                    <a:pt x="465" y="367"/>
                    <a:pt x="466" y="372"/>
                    <a:pt x="464" y="376"/>
                  </a:cubicBezTo>
                  <a:close/>
                  <a:moveTo>
                    <a:pt x="477" y="221"/>
                  </a:moveTo>
                  <a:cubicBezTo>
                    <a:pt x="482" y="220"/>
                    <a:pt x="486" y="224"/>
                    <a:pt x="487" y="228"/>
                  </a:cubicBezTo>
                  <a:cubicBezTo>
                    <a:pt x="488" y="233"/>
                    <a:pt x="485" y="238"/>
                    <a:pt x="480" y="239"/>
                  </a:cubicBezTo>
                  <a:cubicBezTo>
                    <a:pt x="475" y="239"/>
                    <a:pt x="471" y="236"/>
                    <a:pt x="470" y="231"/>
                  </a:cubicBezTo>
                  <a:cubicBezTo>
                    <a:pt x="469" y="227"/>
                    <a:pt x="472" y="222"/>
                    <a:pt x="477" y="221"/>
                  </a:cubicBezTo>
                  <a:close/>
                  <a:moveTo>
                    <a:pt x="489" y="304"/>
                  </a:moveTo>
                  <a:cubicBezTo>
                    <a:pt x="488" y="309"/>
                    <a:pt x="483" y="312"/>
                    <a:pt x="478" y="312"/>
                  </a:cubicBezTo>
                  <a:cubicBezTo>
                    <a:pt x="474" y="311"/>
                    <a:pt x="470" y="306"/>
                    <a:pt x="471" y="301"/>
                  </a:cubicBezTo>
                  <a:cubicBezTo>
                    <a:pt x="472" y="297"/>
                    <a:pt x="477" y="293"/>
                    <a:pt x="481" y="294"/>
                  </a:cubicBezTo>
                  <a:cubicBezTo>
                    <a:pt x="486" y="295"/>
                    <a:pt x="489" y="300"/>
                    <a:pt x="489" y="3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4" name="Freeform 24"/>
            <p:cNvSpPr>
              <a:spLocks noEditPoints="1"/>
            </p:cNvSpPr>
            <p:nvPr/>
          </p:nvSpPr>
          <p:spPr bwMode="auto">
            <a:xfrm>
              <a:off x="5517479" y="2719378"/>
              <a:ext cx="412211" cy="408770"/>
            </a:xfrm>
            <a:custGeom>
              <a:avLst/>
              <a:gdLst>
                <a:gd name="T0" fmla="*/ 225 w 253"/>
                <a:gd name="T1" fmla="*/ 86 h 251"/>
                <a:gd name="T2" fmla="*/ 227 w 253"/>
                <a:gd name="T3" fmla="*/ 49 h 251"/>
                <a:gd name="T4" fmla="*/ 206 w 253"/>
                <a:gd name="T5" fmla="*/ 54 h 251"/>
                <a:gd name="T6" fmla="*/ 195 w 253"/>
                <a:gd name="T7" fmla="*/ 19 h 251"/>
                <a:gd name="T8" fmla="*/ 177 w 253"/>
                <a:gd name="T9" fmla="*/ 32 h 251"/>
                <a:gd name="T10" fmla="*/ 155 w 253"/>
                <a:gd name="T11" fmla="*/ 2 h 251"/>
                <a:gd name="T12" fmla="*/ 142 w 253"/>
                <a:gd name="T13" fmla="*/ 20 h 251"/>
                <a:gd name="T14" fmla="*/ 111 w 253"/>
                <a:gd name="T15" fmla="*/ 0 h 251"/>
                <a:gd name="T16" fmla="*/ 105 w 253"/>
                <a:gd name="T17" fmla="*/ 21 h 251"/>
                <a:gd name="T18" fmla="*/ 69 w 253"/>
                <a:gd name="T19" fmla="*/ 12 h 251"/>
                <a:gd name="T20" fmla="*/ 71 w 253"/>
                <a:gd name="T21" fmla="*/ 35 h 251"/>
                <a:gd name="T22" fmla="*/ 34 w 253"/>
                <a:gd name="T23" fmla="*/ 39 h 251"/>
                <a:gd name="T24" fmla="*/ 43 w 253"/>
                <a:gd name="T25" fmla="*/ 59 h 251"/>
                <a:gd name="T26" fmla="*/ 10 w 253"/>
                <a:gd name="T27" fmla="*/ 76 h 251"/>
                <a:gd name="T28" fmla="*/ 25 w 253"/>
                <a:gd name="T29" fmla="*/ 92 h 251"/>
                <a:gd name="T30" fmla="*/ 0 w 253"/>
                <a:gd name="T31" fmla="*/ 118 h 251"/>
                <a:gd name="T32" fmla="*/ 20 w 253"/>
                <a:gd name="T33" fmla="*/ 125 h 251"/>
                <a:gd name="T34" fmla="*/ 0 w 253"/>
                <a:gd name="T35" fmla="*/ 132 h 251"/>
                <a:gd name="T36" fmla="*/ 25 w 253"/>
                <a:gd name="T37" fmla="*/ 159 h 251"/>
                <a:gd name="T38" fmla="*/ 10 w 253"/>
                <a:gd name="T39" fmla="*/ 175 h 251"/>
                <a:gd name="T40" fmla="*/ 43 w 253"/>
                <a:gd name="T41" fmla="*/ 191 h 251"/>
                <a:gd name="T42" fmla="*/ 34 w 253"/>
                <a:gd name="T43" fmla="*/ 212 h 251"/>
                <a:gd name="T44" fmla="*/ 71 w 253"/>
                <a:gd name="T45" fmla="*/ 216 h 251"/>
                <a:gd name="T46" fmla="*/ 69 w 253"/>
                <a:gd name="T47" fmla="*/ 238 h 251"/>
                <a:gd name="T48" fmla="*/ 105 w 253"/>
                <a:gd name="T49" fmla="*/ 229 h 251"/>
                <a:gd name="T50" fmla="*/ 111 w 253"/>
                <a:gd name="T51" fmla="*/ 251 h 251"/>
                <a:gd name="T52" fmla="*/ 142 w 253"/>
                <a:gd name="T53" fmla="*/ 230 h 251"/>
                <a:gd name="T54" fmla="*/ 155 w 253"/>
                <a:gd name="T55" fmla="*/ 248 h 251"/>
                <a:gd name="T56" fmla="*/ 177 w 253"/>
                <a:gd name="T57" fmla="*/ 219 h 251"/>
                <a:gd name="T58" fmla="*/ 195 w 253"/>
                <a:gd name="T59" fmla="*/ 231 h 251"/>
                <a:gd name="T60" fmla="*/ 206 w 253"/>
                <a:gd name="T61" fmla="*/ 196 h 251"/>
                <a:gd name="T62" fmla="*/ 227 w 253"/>
                <a:gd name="T63" fmla="*/ 201 h 251"/>
                <a:gd name="T64" fmla="*/ 225 w 253"/>
                <a:gd name="T65" fmla="*/ 165 h 251"/>
                <a:gd name="T66" fmla="*/ 247 w 253"/>
                <a:gd name="T67" fmla="*/ 162 h 251"/>
                <a:gd name="T68" fmla="*/ 233 w 253"/>
                <a:gd name="T69" fmla="*/ 128 h 251"/>
                <a:gd name="T70" fmla="*/ 233 w 253"/>
                <a:gd name="T71" fmla="*/ 122 h 251"/>
                <a:gd name="T72" fmla="*/ 247 w 253"/>
                <a:gd name="T73" fmla="*/ 88 h 251"/>
                <a:gd name="T74" fmla="*/ 213 w 253"/>
                <a:gd name="T75" fmla="*/ 125 h 251"/>
                <a:gd name="T76" fmla="*/ 40 w 253"/>
                <a:gd name="T77" fmla="*/ 125 h 251"/>
                <a:gd name="T78" fmla="*/ 213 w 253"/>
                <a:gd name="T79" fmla="*/ 125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3" h="251">
                  <a:moveTo>
                    <a:pt x="227" y="92"/>
                  </a:moveTo>
                  <a:cubicBezTo>
                    <a:pt x="227" y="90"/>
                    <a:pt x="226" y="88"/>
                    <a:pt x="225" y="86"/>
                  </a:cubicBezTo>
                  <a:cubicBezTo>
                    <a:pt x="243" y="76"/>
                    <a:pt x="243" y="76"/>
                    <a:pt x="243" y="76"/>
                  </a:cubicBezTo>
                  <a:cubicBezTo>
                    <a:pt x="227" y="49"/>
                    <a:pt x="227" y="49"/>
                    <a:pt x="227" y="49"/>
                  </a:cubicBezTo>
                  <a:cubicBezTo>
                    <a:pt x="210" y="59"/>
                    <a:pt x="210" y="59"/>
                    <a:pt x="210" y="59"/>
                  </a:cubicBezTo>
                  <a:cubicBezTo>
                    <a:pt x="209" y="58"/>
                    <a:pt x="207" y="56"/>
                    <a:pt x="206" y="54"/>
                  </a:cubicBezTo>
                  <a:cubicBezTo>
                    <a:pt x="219" y="39"/>
                    <a:pt x="219" y="39"/>
                    <a:pt x="219" y="39"/>
                  </a:cubicBezTo>
                  <a:cubicBezTo>
                    <a:pt x="195" y="19"/>
                    <a:pt x="195" y="19"/>
                    <a:pt x="195" y="19"/>
                  </a:cubicBezTo>
                  <a:cubicBezTo>
                    <a:pt x="182" y="35"/>
                    <a:pt x="182" y="35"/>
                    <a:pt x="182" y="35"/>
                  </a:cubicBezTo>
                  <a:cubicBezTo>
                    <a:pt x="181" y="34"/>
                    <a:pt x="179" y="33"/>
                    <a:pt x="177" y="3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55" y="2"/>
                    <a:pt x="155" y="2"/>
                    <a:pt x="155" y="2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6" y="21"/>
                    <a:pt x="144" y="20"/>
                    <a:pt x="142" y="2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09" y="20"/>
                    <a:pt x="107" y="21"/>
                    <a:pt x="105" y="21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3"/>
                    <a:pt x="72" y="34"/>
                    <a:pt x="71" y="35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6" y="56"/>
                    <a:pt x="44" y="58"/>
                    <a:pt x="43" y="5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7" y="88"/>
                    <a:pt x="26" y="90"/>
                    <a:pt x="25" y="92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3"/>
                    <a:pt x="20" y="124"/>
                    <a:pt x="20" y="125"/>
                  </a:cubicBezTo>
                  <a:cubicBezTo>
                    <a:pt x="20" y="126"/>
                    <a:pt x="20" y="127"/>
                    <a:pt x="20" y="128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26" y="161"/>
                    <a:pt x="27" y="163"/>
                    <a:pt x="28" y="165"/>
                  </a:cubicBezTo>
                  <a:cubicBezTo>
                    <a:pt x="10" y="175"/>
                    <a:pt x="10" y="175"/>
                    <a:pt x="10" y="175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3" y="191"/>
                    <a:pt x="43" y="191"/>
                    <a:pt x="43" y="191"/>
                  </a:cubicBezTo>
                  <a:cubicBezTo>
                    <a:pt x="44" y="193"/>
                    <a:pt x="46" y="194"/>
                    <a:pt x="47" y="196"/>
                  </a:cubicBezTo>
                  <a:cubicBezTo>
                    <a:pt x="34" y="212"/>
                    <a:pt x="34" y="212"/>
                    <a:pt x="34" y="212"/>
                  </a:cubicBezTo>
                  <a:cubicBezTo>
                    <a:pt x="57" y="231"/>
                    <a:pt x="57" y="231"/>
                    <a:pt x="57" y="231"/>
                  </a:cubicBezTo>
                  <a:cubicBezTo>
                    <a:pt x="71" y="216"/>
                    <a:pt x="71" y="216"/>
                    <a:pt x="71" y="216"/>
                  </a:cubicBezTo>
                  <a:cubicBezTo>
                    <a:pt x="72" y="217"/>
                    <a:pt x="74" y="218"/>
                    <a:pt x="76" y="219"/>
                  </a:cubicBezTo>
                  <a:cubicBezTo>
                    <a:pt x="69" y="238"/>
                    <a:pt x="69" y="238"/>
                    <a:pt x="69" y="238"/>
                  </a:cubicBezTo>
                  <a:cubicBezTo>
                    <a:pt x="98" y="248"/>
                    <a:pt x="98" y="248"/>
                    <a:pt x="98" y="248"/>
                  </a:cubicBezTo>
                  <a:cubicBezTo>
                    <a:pt x="105" y="229"/>
                    <a:pt x="105" y="229"/>
                    <a:pt x="105" y="229"/>
                  </a:cubicBezTo>
                  <a:cubicBezTo>
                    <a:pt x="107" y="230"/>
                    <a:pt x="109" y="230"/>
                    <a:pt x="111" y="230"/>
                  </a:cubicBezTo>
                  <a:cubicBezTo>
                    <a:pt x="111" y="251"/>
                    <a:pt x="111" y="251"/>
                    <a:pt x="111" y="251"/>
                  </a:cubicBezTo>
                  <a:cubicBezTo>
                    <a:pt x="142" y="251"/>
                    <a:pt x="142" y="251"/>
                    <a:pt x="142" y="251"/>
                  </a:cubicBezTo>
                  <a:cubicBezTo>
                    <a:pt x="142" y="230"/>
                    <a:pt x="142" y="230"/>
                    <a:pt x="142" y="230"/>
                  </a:cubicBezTo>
                  <a:cubicBezTo>
                    <a:pt x="144" y="230"/>
                    <a:pt x="146" y="230"/>
                    <a:pt x="148" y="229"/>
                  </a:cubicBezTo>
                  <a:cubicBezTo>
                    <a:pt x="155" y="248"/>
                    <a:pt x="155" y="248"/>
                    <a:pt x="155" y="248"/>
                  </a:cubicBezTo>
                  <a:cubicBezTo>
                    <a:pt x="184" y="238"/>
                    <a:pt x="184" y="238"/>
                    <a:pt x="184" y="238"/>
                  </a:cubicBezTo>
                  <a:cubicBezTo>
                    <a:pt x="177" y="219"/>
                    <a:pt x="177" y="219"/>
                    <a:pt x="177" y="219"/>
                  </a:cubicBezTo>
                  <a:cubicBezTo>
                    <a:pt x="179" y="218"/>
                    <a:pt x="181" y="217"/>
                    <a:pt x="182" y="216"/>
                  </a:cubicBezTo>
                  <a:cubicBezTo>
                    <a:pt x="195" y="231"/>
                    <a:pt x="195" y="231"/>
                    <a:pt x="195" y="231"/>
                  </a:cubicBezTo>
                  <a:cubicBezTo>
                    <a:pt x="219" y="211"/>
                    <a:pt x="219" y="211"/>
                    <a:pt x="219" y="211"/>
                  </a:cubicBezTo>
                  <a:cubicBezTo>
                    <a:pt x="206" y="196"/>
                    <a:pt x="206" y="196"/>
                    <a:pt x="206" y="196"/>
                  </a:cubicBezTo>
                  <a:cubicBezTo>
                    <a:pt x="207" y="194"/>
                    <a:pt x="209" y="193"/>
                    <a:pt x="210" y="191"/>
                  </a:cubicBezTo>
                  <a:cubicBezTo>
                    <a:pt x="227" y="201"/>
                    <a:pt x="227" y="201"/>
                    <a:pt x="227" y="201"/>
                  </a:cubicBezTo>
                  <a:cubicBezTo>
                    <a:pt x="243" y="175"/>
                    <a:pt x="243" y="175"/>
                    <a:pt x="243" y="175"/>
                  </a:cubicBezTo>
                  <a:cubicBezTo>
                    <a:pt x="225" y="165"/>
                    <a:pt x="225" y="165"/>
                    <a:pt x="225" y="165"/>
                  </a:cubicBezTo>
                  <a:cubicBezTo>
                    <a:pt x="226" y="163"/>
                    <a:pt x="227" y="161"/>
                    <a:pt x="227" y="159"/>
                  </a:cubicBezTo>
                  <a:cubicBezTo>
                    <a:pt x="247" y="162"/>
                    <a:pt x="247" y="162"/>
                    <a:pt x="247" y="162"/>
                  </a:cubicBezTo>
                  <a:cubicBezTo>
                    <a:pt x="253" y="132"/>
                    <a:pt x="253" y="132"/>
                    <a:pt x="253" y="132"/>
                  </a:cubicBezTo>
                  <a:cubicBezTo>
                    <a:pt x="233" y="128"/>
                    <a:pt x="233" y="128"/>
                    <a:pt x="233" y="128"/>
                  </a:cubicBezTo>
                  <a:cubicBezTo>
                    <a:pt x="233" y="127"/>
                    <a:pt x="233" y="126"/>
                    <a:pt x="233" y="125"/>
                  </a:cubicBezTo>
                  <a:cubicBezTo>
                    <a:pt x="233" y="124"/>
                    <a:pt x="233" y="123"/>
                    <a:pt x="233" y="122"/>
                  </a:cubicBezTo>
                  <a:cubicBezTo>
                    <a:pt x="253" y="118"/>
                    <a:pt x="253" y="118"/>
                    <a:pt x="253" y="118"/>
                  </a:cubicBezTo>
                  <a:cubicBezTo>
                    <a:pt x="247" y="88"/>
                    <a:pt x="247" y="88"/>
                    <a:pt x="247" y="88"/>
                  </a:cubicBezTo>
                  <a:lnTo>
                    <a:pt x="227" y="92"/>
                  </a:lnTo>
                  <a:close/>
                  <a:moveTo>
                    <a:pt x="213" y="125"/>
                  </a:moveTo>
                  <a:cubicBezTo>
                    <a:pt x="213" y="173"/>
                    <a:pt x="174" y="212"/>
                    <a:pt x="126" y="212"/>
                  </a:cubicBezTo>
                  <a:cubicBezTo>
                    <a:pt x="79" y="212"/>
                    <a:pt x="40" y="173"/>
                    <a:pt x="40" y="125"/>
                  </a:cubicBezTo>
                  <a:cubicBezTo>
                    <a:pt x="40" y="77"/>
                    <a:pt x="79" y="39"/>
                    <a:pt x="126" y="39"/>
                  </a:cubicBezTo>
                  <a:cubicBezTo>
                    <a:pt x="174" y="39"/>
                    <a:pt x="213" y="77"/>
                    <a:pt x="213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447633" y="3993177"/>
            <a:ext cx="887044" cy="880163"/>
            <a:chOff x="4447633" y="3993177"/>
            <a:chExt cx="887044" cy="880163"/>
          </a:xfrm>
          <a:solidFill>
            <a:srgbClr val="000000"/>
          </a:solidFill>
        </p:grpSpPr>
        <p:sp>
          <p:nvSpPr>
            <p:cNvPr id="35" name="Freeform 28"/>
            <p:cNvSpPr>
              <a:spLocks/>
            </p:cNvSpPr>
            <p:nvPr/>
          </p:nvSpPr>
          <p:spPr bwMode="auto">
            <a:xfrm>
              <a:off x="4733909" y="4276013"/>
              <a:ext cx="314491" cy="312427"/>
            </a:xfrm>
            <a:custGeom>
              <a:avLst/>
              <a:gdLst>
                <a:gd name="T0" fmla="*/ 173 w 193"/>
                <a:gd name="T1" fmla="*/ 71 h 192"/>
                <a:gd name="T2" fmla="*/ 185 w 193"/>
                <a:gd name="T3" fmla="*/ 58 h 192"/>
                <a:gd name="T4" fmla="*/ 160 w 193"/>
                <a:gd name="T5" fmla="*/ 46 h 192"/>
                <a:gd name="T6" fmla="*/ 167 w 193"/>
                <a:gd name="T7" fmla="*/ 30 h 192"/>
                <a:gd name="T8" fmla="*/ 139 w 193"/>
                <a:gd name="T9" fmla="*/ 27 h 192"/>
                <a:gd name="T10" fmla="*/ 140 w 193"/>
                <a:gd name="T11" fmla="*/ 10 h 192"/>
                <a:gd name="T12" fmla="*/ 113 w 193"/>
                <a:gd name="T13" fmla="*/ 17 h 192"/>
                <a:gd name="T14" fmla="*/ 108 w 193"/>
                <a:gd name="T15" fmla="*/ 0 h 192"/>
                <a:gd name="T16" fmla="*/ 85 w 193"/>
                <a:gd name="T17" fmla="*/ 16 h 192"/>
                <a:gd name="T18" fmla="*/ 75 w 193"/>
                <a:gd name="T19" fmla="*/ 2 h 192"/>
                <a:gd name="T20" fmla="*/ 58 w 193"/>
                <a:gd name="T21" fmla="*/ 25 h 192"/>
                <a:gd name="T22" fmla="*/ 44 w 193"/>
                <a:gd name="T23" fmla="*/ 15 h 192"/>
                <a:gd name="T24" fmla="*/ 36 w 193"/>
                <a:gd name="T25" fmla="*/ 42 h 192"/>
                <a:gd name="T26" fmla="*/ 19 w 193"/>
                <a:gd name="T27" fmla="*/ 38 h 192"/>
                <a:gd name="T28" fmla="*/ 21 w 193"/>
                <a:gd name="T29" fmla="*/ 66 h 192"/>
                <a:gd name="T30" fmla="*/ 4 w 193"/>
                <a:gd name="T31" fmla="*/ 68 h 192"/>
                <a:gd name="T32" fmla="*/ 15 w 193"/>
                <a:gd name="T33" fmla="*/ 94 h 192"/>
                <a:gd name="T34" fmla="*/ 15 w 193"/>
                <a:gd name="T35" fmla="*/ 99 h 192"/>
                <a:gd name="T36" fmla="*/ 4 w 193"/>
                <a:gd name="T37" fmla="*/ 124 h 192"/>
                <a:gd name="T38" fmla="*/ 21 w 193"/>
                <a:gd name="T39" fmla="*/ 126 h 192"/>
                <a:gd name="T40" fmla="*/ 19 w 193"/>
                <a:gd name="T41" fmla="*/ 154 h 192"/>
                <a:gd name="T42" fmla="*/ 36 w 193"/>
                <a:gd name="T43" fmla="*/ 150 h 192"/>
                <a:gd name="T44" fmla="*/ 44 w 193"/>
                <a:gd name="T45" fmla="*/ 177 h 192"/>
                <a:gd name="T46" fmla="*/ 58 w 193"/>
                <a:gd name="T47" fmla="*/ 168 h 192"/>
                <a:gd name="T48" fmla="*/ 75 w 193"/>
                <a:gd name="T49" fmla="*/ 190 h 192"/>
                <a:gd name="T50" fmla="*/ 85 w 193"/>
                <a:gd name="T51" fmla="*/ 176 h 192"/>
                <a:gd name="T52" fmla="*/ 108 w 193"/>
                <a:gd name="T53" fmla="*/ 192 h 192"/>
                <a:gd name="T54" fmla="*/ 113 w 193"/>
                <a:gd name="T55" fmla="*/ 176 h 192"/>
                <a:gd name="T56" fmla="*/ 140 w 193"/>
                <a:gd name="T57" fmla="*/ 182 h 192"/>
                <a:gd name="T58" fmla="*/ 139 w 193"/>
                <a:gd name="T59" fmla="*/ 165 h 192"/>
                <a:gd name="T60" fmla="*/ 167 w 193"/>
                <a:gd name="T61" fmla="*/ 162 h 192"/>
                <a:gd name="T62" fmla="*/ 160 w 193"/>
                <a:gd name="T63" fmla="*/ 146 h 192"/>
                <a:gd name="T64" fmla="*/ 185 w 193"/>
                <a:gd name="T65" fmla="*/ 134 h 192"/>
                <a:gd name="T66" fmla="*/ 173 w 193"/>
                <a:gd name="T67" fmla="*/ 122 h 192"/>
                <a:gd name="T68" fmla="*/ 193 w 193"/>
                <a:gd name="T69" fmla="*/ 101 h 192"/>
                <a:gd name="T70" fmla="*/ 178 w 193"/>
                <a:gd name="T71" fmla="*/ 96 h 192"/>
                <a:gd name="T72" fmla="*/ 193 w 193"/>
                <a:gd name="T73" fmla="*/ 9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" h="192">
                  <a:moveTo>
                    <a:pt x="189" y="68"/>
                  </a:moveTo>
                  <a:cubicBezTo>
                    <a:pt x="173" y="71"/>
                    <a:pt x="173" y="71"/>
                    <a:pt x="173" y="71"/>
                  </a:cubicBezTo>
                  <a:cubicBezTo>
                    <a:pt x="173" y="69"/>
                    <a:pt x="172" y="68"/>
                    <a:pt x="172" y="66"/>
                  </a:cubicBezTo>
                  <a:cubicBezTo>
                    <a:pt x="185" y="58"/>
                    <a:pt x="185" y="58"/>
                    <a:pt x="185" y="58"/>
                  </a:cubicBezTo>
                  <a:cubicBezTo>
                    <a:pt x="173" y="38"/>
                    <a:pt x="173" y="38"/>
                    <a:pt x="173" y="38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59" y="45"/>
                    <a:pt x="158" y="43"/>
                    <a:pt x="157" y="42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8" y="26"/>
                    <a:pt x="136" y="25"/>
                    <a:pt x="135" y="25"/>
                  </a:cubicBezTo>
                  <a:cubicBezTo>
                    <a:pt x="140" y="10"/>
                    <a:pt x="140" y="10"/>
                    <a:pt x="140" y="10"/>
                  </a:cubicBezTo>
                  <a:cubicBezTo>
                    <a:pt x="118" y="2"/>
                    <a:pt x="118" y="2"/>
                    <a:pt x="118" y="2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1" y="16"/>
                    <a:pt x="110" y="16"/>
                    <a:pt x="108" y="16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3" y="16"/>
                    <a:pt x="81" y="16"/>
                    <a:pt x="80" y="17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6" y="25"/>
                    <a:pt x="55" y="26"/>
                    <a:pt x="54" y="27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5" y="43"/>
                    <a:pt x="34" y="45"/>
                    <a:pt x="33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0" y="68"/>
                    <a:pt x="20" y="69"/>
                    <a:pt x="19" y="71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5"/>
                    <a:pt x="15" y="95"/>
                    <a:pt x="15" y="96"/>
                  </a:cubicBezTo>
                  <a:cubicBezTo>
                    <a:pt x="15" y="97"/>
                    <a:pt x="15" y="98"/>
                    <a:pt x="15" y="99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19" y="122"/>
                    <a:pt x="19" y="122"/>
                    <a:pt x="19" y="122"/>
                  </a:cubicBezTo>
                  <a:cubicBezTo>
                    <a:pt x="20" y="123"/>
                    <a:pt x="20" y="125"/>
                    <a:pt x="21" y="126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33" y="146"/>
                    <a:pt x="33" y="146"/>
                    <a:pt x="33" y="146"/>
                  </a:cubicBezTo>
                  <a:cubicBezTo>
                    <a:pt x="34" y="148"/>
                    <a:pt x="35" y="149"/>
                    <a:pt x="36" y="150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44" y="177"/>
                    <a:pt x="44" y="177"/>
                    <a:pt x="44" y="177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5" y="166"/>
                    <a:pt x="56" y="167"/>
                    <a:pt x="58" y="168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75" y="190"/>
                    <a:pt x="75" y="190"/>
                    <a:pt x="75" y="190"/>
                  </a:cubicBezTo>
                  <a:cubicBezTo>
                    <a:pt x="80" y="176"/>
                    <a:pt x="80" y="176"/>
                    <a:pt x="80" y="176"/>
                  </a:cubicBezTo>
                  <a:cubicBezTo>
                    <a:pt x="81" y="176"/>
                    <a:pt x="83" y="176"/>
                    <a:pt x="85" y="176"/>
                  </a:cubicBezTo>
                  <a:cubicBezTo>
                    <a:pt x="85" y="192"/>
                    <a:pt x="85" y="192"/>
                    <a:pt x="85" y="192"/>
                  </a:cubicBezTo>
                  <a:cubicBezTo>
                    <a:pt x="108" y="192"/>
                    <a:pt x="108" y="192"/>
                    <a:pt x="108" y="192"/>
                  </a:cubicBezTo>
                  <a:cubicBezTo>
                    <a:pt x="108" y="176"/>
                    <a:pt x="108" y="176"/>
                    <a:pt x="108" y="176"/>
                  </a:cubicBezTo>
                  <a:cubicBezTo>
                    <a:pt x="110" y="176"/>
                    <a:pt x="111" y="176"/>
                    <a:pt x="113" y="176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40" y="182"/>
                    <a:pt x="140" y="182"/>
                    <a:pt x="140" y="182"/>
                  </a:cubicBezTo>
                  <a:cubicBezTo>
                    <a:pt x="135" y="168"/>
                    <a:pt x="135" y="168"/>
                    <a:pt x="135" y="168"/>
                  </a:cubicBezTo>
                  <a:cubicBezTo>
                    <a:pt x="136" y="167"/>
                    <a:pt x="138" y="166"/>
                    <a:pt x="139" y="165"/>
                  </a:cubicBezTo>
                  <a:cubicBezTo>
                    <a:pt x="149" y="177"/>
                    <a:pt x="149" y="177"/>
                    <a:pt x="149" y="177"/>
                  </a:cubicBezTo>
                  <a:cubicBezTo>
                    <a:pt x="167" y="162"/>
                    <a:pt x="167" y="162"/>
                    <a:pt x="167" y="162"/>
                  </a:cubicBezTo>
                  <a:cubicBezTo>
                    <a:pt x="157" y="150"/>
                    <a:pt x="157" y="150"/>
                    <a:pt x="157" y="150"/>
                  </a:cubicBezTo>
                  <a:cubicBezTo>
                    <a:pt x="158" y="149"/>
                    <a:pt x="159" y="148"/>
                    <a:pt x="160" y="146"/>
                  </a:cubicBezTo>
                  <a:cubicBezTo>
                    <a:pt x="173" y="154"/>
                    <a:pt x="173" y="154"/>
                    <a:pt x="173" y="154"/>
                  </a:cubicBezTo>
                  <a:cubicBezTo>
                    <a:pt x="185" y="134"/>
                    <a:pt x="185" y="134"/>
                    <a:pt x="185" y="134"/>
                  </a:cubicBezTo>
                  <a:cubicBezTo>
                    <a:pt x="172" y="126"/>
                    <a:pt x="172" y="126"/>
                    <a:pt x="172" y="126"/>
                  </a:cubicBezTo>
                  <a:cubicBezTo>
                    <a:pt x="172" y="125"/>
                    <a:pt x="173" y="123"/>
                    <a:pt x="173" y="122"/>
                  </a:cubicBezTo>
                  <a:cubicBezTo>
                    <a:pt x="189" y="124"/>
                    <a:pt x="189" y="124"/>
                    <a:pt x="189" y="124"/>
                  </a:cubicBezTo>
                  <a:cubicBezTo>
                    <a:pt x="193" y="101"/>
                    <a:pt x="193" y="101"/>
                    <a:pt x="193" y="101"/>
                  </a:cubicBezTo>
                  <a:cubicBezTo>
                    <a:pt x="177" y="99"/>
                    <a:pt x="177" y="99"/>
                    <a:pt x="177" y="99"/>
                  </a:cubicBezTo>
                  <a:cubicBezTo>
                    <a:pt x="178" y="98"/>
                    <a:pt x="178" y="97"/>
                    <a:pt x="178" y="96"/>
                  </a:cubicBezTo>
                  <a:cubicBezTo>
                    <a:pt x="178" y="95"/>
                    <a:pt x="178" y="95"/>
                    <a:pt x="177" y="94"/>
                  </a:cubicBezTo>
                  <a:cubicBezTo>
                    <a:pt x="193" y="91"/>
                    <a:pt x="193" y="91"/>
                    <a:pt x="193" y="91"/>
                  </a:cubicBezTo>
                  <a:lnTo>
                    <a:pt x="189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6" name="Freeform 29"/>
            <p:cNvSpPr>
              <a:spLocks noEditPoints="1"/>
            </p:cNvSpPr>
            <p:nvPr/>
          </p:nvSpPr>
          <p:spPr bwMode="auto">
            <a:xfrm>
              <a:off x="4447633" y="3993177"/>
              <a:ext cx="887044" cy="880163"/>
            </a:xfrm>
            <a:custGeom>
              <a:avLst/>
              <a:gdLst>
                <a:gd name="T0" fmla="*/ 545 w 545"/>
                <a:gd name="T1" fmla="*/ 256 h 541"/>
                <a:gd name="T2" fmla="*/ 485 w 545"/>
                <a:gd name="T3" fmla="*/ 185 h 541"/>
                <a:gd name="T4" fmla="*/ 452 w 545"/>
                <a:gd name="T5" fmla="*/ 128 h 541"/>
                <a:gd name="T6" fmla="*/ 421 w 545"/>
                <a:gd name="T7" fmla="*/ 42 h 541"/>
                <a:gd name="T8" fmla="*/ 396 w 545"/>
                <a:gd name="T9" fmla="*/ 27 h 541"/>
                <a:gd name="T10" fmla="*/ 305 w 545"/>
                <a:gd name="T11" fmla="*/ 43 h 541"/>
                <a:gd name="T12" fmla="*/ 239 w 545"/>
                <a:gd name="T13" fmla="*/ 43 h 541"/>
                <a:gd name="T14" fmla="*/ 149 w 545"/>
                <a:gd name="T15" fmla="*/ 27 h 541"/>
                <a:gd name="T16" fmla="*/ 124 w 545"/>
                <a:gd name="T17" fmla="*/ 42 h 541"/>
                <a:gd name="T18" fmla="*/ 93 w 545"/>
                <a:gd name="T19" fmla="*/ 128 h 541"/>
                <a:gd name="T20" fmla="*/ 59 w 545"/>
                <a:gd name="T21" fmla="*/ 185 h 541"/>
                <a:gd name="T22" fmla="*/ 0 w 545"/>
                <a:gd name="T23" fmla="*/ 256 h 541"/>
                <a:gd name="T24" fmla="*/ 43 w 545"/>
                <a:gd name="T25" fmla="*/ 277 h 541"/>
                <a:gd name="T26" fmla="*/ 55 w 545"/>
                <a:gd name="T27" fmla="*/ 342 h 541"/>
                <a:gd name="T28" fmla="*/ 55 w 545"/>
                <a:gd name="T29" fmla="*/ 434 h 541"/>
                <a:gd name="T30" fmla="*/ 73 w 545"/>
                <a:gd name="T31" fmla="*/ 456 h 541"/>
                <a:gd name="T32" fmla="*/ 164 w 545"/>
                <a:gd name="T33" fmla="*/ 472 h 541"/>
                <a:gd name="T34" fmla="*/ 226 w 545"/>
                <a:gd name="T35" fmla="*/ 495 h 541"/>
                <a:gd name="T36" fmla="*/ 305 w 545"/>
                <a:gd name="T37" fmla="*/ 541 h 541"/>
                <a:gd name="T38" fmla="*/ 334 w 545"/>
                <a:gd name="T39" fmla="*/ 536 h 541"/>
                <a:gd name="T40" fmla="*/ 393 w 545"/>
                <a:gd name="T41" fmla="*/ 465 h 541"/>
                <a:gd name="T42" fmla="*/ 443 w 545"/>
                <a:gd name="T43" fmla="*/ 423 h 541"/>
                <a:gd name="T44" fmla="*/ 523 w 545"/>
                <a:gd name="T45" fmla="*/ 377 h 541"/>
                <a:gd name="T46" fmla="*/ 533 w 545"/>
                <a:gd name="T47" fmla="*/ 350 h 541"/>
                <a:gd name="T48" fmla="*/ 502 w 545"/>
                <a:gd name="T49" fmla="*/ 270 h 541"/>
                <a:gd name="T50" fmla="*/ 408 w 545"/>
                <a:gd name="T51" fmla="*/ 277 h 541"/>
                <a:gd name="T52" fmla="*/ 378 w 545"/>
                <a:gd name="T53" fmla="*/ 312 h 541"/>
                <a:gd name="T54" fmla="*/ 362 w 545"/>
                <a:gd name="T55" fmla="*/ 341 h 541"/>
                <a:gd name="T56" fmla="*/ 346 w 545"/>
                <a:gd name="T57" fmla="*/ 384 h 541"/>
                <a:gd name="T58" fmla="*/ 334 w 545"/>
                <a:gd name="T59" fmla="*/ 391 h 541"/>
                <a:gd name="T60" fmla="*/ 289 w 545"/>
                <a:gd name="T61" fmla="*/ 383 h 541"/>
                <a:gd name="T62" fmla="*/ 256 w 545"/>
                <a:gd name="T63" fmla="*/ 383 h 541"/>
                <a:gd name="T64" fmla="*/ 211 w 545"/>
                <a:gd name="T65" fmla="*/ 391 h 541"/>
                <a:gd name="T66" fmla="*/ 198 w 545"/>
                <a:gd name="T67" fmla="*/ 384 h 541"/>
                <a:gd name="T68" fmla="*/ 183 w 545"/>
                <a:gd name="T69" fmla="*/ 341 h 541"/>
                <a:gd name="T70" fmla="*/ 166 w 545"/>
                <a:gd name="T71" fmla="*/ 312 h 541"/>
                <a:gd name="T72" fmla="*/ 137 w 545"/>
                <a:gd name="T73" fmla="*/ 277 h 541"/>
                <a:gd name="T74" fmla="*/ 158 w 545"/>
                <a:gd name="T75" fmla="*/ 267 h 541"/>
                <a:gd name="T76" fmla="*/ 164 w 545"/>
                <a:gd name="T77" fmla="*/ 234 h 541"/>
                <a:gd name="T78" fmla="*/ 164 w 545"/>
                <a:gd name="T79" fmla="*/ 189 h 541"/>
                <a:gd name="T80" fmla="*/ 173 w 545"/>
                <a:gd name="T81" fmla="*/ 178 h 541"/>
                <a:gd name="T82" fmla="*/ 218 w 545"/>
                <a:gd name="T83" fmla="*/ 170 h 541"/>
                <a:gd name="T84" fmla="*/ 249 w 545"/>
                <a:gd name="T85" fmla="*/ 159 h 541"/>
                <a:gd name="T86" fmla="*/ 289 w 545"/>
                <a:gd name="T87" fmla="*/ 136 h 541"/>
                <a:gd name="T88" fmla="*/ 303 w 545"/>
                <a:gd name="T89" fmla="*/ 138 h 541"/>
                <a:gd name="T90" fmla="*/ 332 w 545"/>
                <a:gd name="T91" fmla="*/ 173 h 541"/>
                <a:gd name="T92" fmla="*/ 357 w 545"/>
                <a:gd name="T93" fmla="*/ 194 h 541"/>
                <a:gd name="T94" fmla="*/ 397 w 545"/>
                <a:gd name="T95" fmla="*/ 217 h 541"/>
                <a:gd name="T96" fmla="*/ 402 w 545"/>
                <a:gd name="T97" fmla="*/ 231 h 541"/>
                <a:gd name="T98" fmla="*/ 386 w 545"/>
                <a:gd name="T99" fmla="*/ 27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1">
                  <a:moveTo>
                    <a:pt x="502" y="270"/>
                  </a:moveTo>
                  <a:cubicBezTo>
                    <a:pt x="502" y="268"/>
                    <a:pt x="502" y="266"/>
                    <a:pt x="501" y="263"/>
                  </a:cubicBezTo>
                  <a:cubicBezTo>
                    <a:pt x="545" y="256"/>
                    <a:pt x="545" y="256"/>
                    <a:pt x="545" y="256"/>
                  </a:cubicBezTo>
                  <a:cubicBezTo>
                    <a:pt x="533" y="191"/>
                    <a:pt x="533" y="191"/>
                    <a:pt x="533" y="191"/>
                  </a:cubicBezTo>
                  <a:cubicBezTo>
                    <a:pt x="490" y="198"/>
                    <a:pt x="490" y="198"/>
                    <a:pt x="490" y="198"/>
                  </a:cubicBezTo>
                  <a:cubicBezTo>
                    <a:pt x="489" y="194"/>
                    <a:pt x="487" y="190"/>
                    <a:pt x="485" y="185"/>
                  </a:cubicBezTo>
                  <a:cubicBezTo>
                    <a:pt x="523" y="164"/>
                    <a:pt x="523" y="164"/>
                    <a:pt x="523" y="164"/>
                  </a:cubicBezTo>
                  <a:cubicBezTo>
                    <a:pt x="490" y="106"/>
                    <a:pt x="490" y="106"/>
                    <a:pt x="490" y="106"/>
                  </a:cubicBezTo>
                  <a:cubicBezTo>
                    <a:pt x="452" y="128"/>
                    <a:pt x="452" y="128"/>
                    <a:pt x="452" y="128"/>
                  </a:cubicBezTo>
                  <a:cubicBezTo>
                    <a:pt x="449" y="125"/>
                    <a:pt x="446" y="121"/>
                    <a:pt x="443" y="118"/>
                  </a:cubicBezTo>
                  <a:cubicBezTo>
                    <a:pt x="472" y="84"/>
                    <a:pt x="472" y="84"/>
                    <a:pt x="472" y="84"/>
                  </a:cubicBezTo>
                  <a:cubicBezTo>
                    <a:pt x="421" y="42"/>
                    <a:pt x="421" y="42"/>
                    <a:pt x="421" y="42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89" y="73"/>
                    <a:pt x="385" y="70"/>
                    <a:pt x="381" y="68"/>
                  </a:cubicBezTo>
                  <a:cubicBezTo>
                    <a:pt x="396" y="27"/>
                    <a:pt x="396" y="27"/>
                    <a:pt x="396" y="27"/>
                  </a:cubicBezTo>
                  <a:cubicBezTo>
                    <a:pt x="334" y="5"/>
                    <a:pt x="334" y="5"/>
                    <a:pt x="334" y="5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14" y="45"/>
                    <a:pt x="310" y="44"/>
                    <a:pt x="305" y="43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35" y="44"/>
                    <a:pt x="230" y="45"/>
                    <a:pt x="226" y="46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0" y="70"/>
                    <a:pt x="156" y="73"/>
                    <a:pt x="152" y="75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101" y="118"/>
                    <a:pt x="101" y="118"/>
                    <a:pt x="101" y="118"/>
                  </a:cubicBezTo>
                  <a:cubicBezTo>
                    <a:pt x="98" y="121"/>
                    <a:pt x="95" y="125"/>
                    <a:pt x="93" y="12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8" y="190"/>
                    <a:pt x="56" y="194"/>
                    <a:pt x="55" y="198"/>
                  </a:cubicBezTo>
                  <a:cubicBezTo>
                    <a:pt x="12" y="191"/>
                    <a:pt x="12" y="191"/>
                    <a:pt x="12" y="19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6"/>
                    <a:pt x="43" y="268"/>
                    <a:pt x="43" y="270"/>
                  </a:cubicBezTo>
                  <a:cubicBezTo>
                    <a:pt x="43" y="272"/>
                    <a:pt x="43" y="275"/>
                    <a:pt x="43" y="277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2" y="350"/>
                    <a:pt x="12" y="350"/>
                    <a:pt x="12" y="350"/>
                  </a:cubicBezTo>
                  <a:cubicBezTo>
                    <a:pt x="55" y="342"/>
                    <a:pt x="55" y="342"/>
                    <a:pt x="55" y="342"/>
                  </a:cubicBezTo>
                  <a:cubicBezTo>
                    <a:pt x="56" y="346"/>
                    <a:pt x="58" y="351"/>
                    <a:pt x="59" y="355"/>
                  </a:cubicBezTo>
                  <a:cubicBezTo>
                    <a:pt x="22" y="377"/>
                    <a:pt x="22" y="377"/>
                    <a:pt x="22" y="377"/>
                  </a:cubicBezTo>
                  <a:cubicBezTo>
                    <a:pt x="55" y="434"/>
                    <a:pt x="55" y="434"/>
                    <a:pt x="55" y="434"/>
                  </a:cubicBezTo>
                  <a:cubicBezTo>
                    <a:pt x="93" y="412"/>
                    <a:pt x="93" y="412"/>
                    <a:pt x="93" y="412"/>
                  </a:cubicBezTo>
                  <a:cubicBezTo>
                    <a:pt x="95" y="416"/>
                    <a:pt x="98" y="419"/>
                    <a:pt x="101" y="423"/>
                  </a:cubicBezTo>
                  <a:cubicBezTo>
                    <a:pt x="73" y="456"/>
                    <a:pt x="73" y="456"/>
                    <a:pt x="73" y="456"/>
                  </a:cubicBezTo>
                  <a:cubicBezTo>
                    <a:pt x="124" y="499"/>
                    <a:pt x="124" y="499"/>
                    <a:pt x="124" y="499"/>
                  </a:cubicBezTo>
                  <a:cubicBezTo>
                    <a:pt x="152" y="465"/>
                    <a:pt x="152" y="465"/>
                    <a:pt x="152" y="465"/>
                  </a:cubicBezTo>
                  <a:cubicBezTo>
                    <a:pt x="156" y="468"/>
                    <a:pt x="160" y="470"/>
                    <a:pt x="164" y="472"/>
                  </a:cubicBezTo>
                  <a:cubicBezTo>
                    <a:pt x="149" y="513"/>
                    <a:pt x="149" y="513"/>
                    <a:pt x="149" y="513"/>
                  </a:cubicBezTo>
                  <a:cubicBezTo>
                    <a:pt x="211" y="536"/>
                    <a:pt x="211" y="536"/>
                    <a:pt x="211" y="536"/>
                  </a:cubicBezTo>
                  <a:cubicBezTo>
                    <a:pt x="226" y="495"/>
                    <a:pt x="226" y="495"/>
                    <a:pt x="226" y="495"/>
                  </a:cubicBezTo>
                  <a:cubicBezTo>
                    <a:pt x="230" y="496"/>
                    <a:pt x="235" y="496"/>
                    <a:pt x="239" y="497"/>
                  </a:cubicBezTo>
                  <a:cubicBezTo>
                    <a:pt x="239" y="541"/>
                    <a:pt x="239" y="541"/>
                    <a:pt x="239" y="541"/>
                  </a:cubicBezTo>
                  <a:cubicBezTo>
                    <a:pt x="305" y="541"/>
                    <a:pt x="305" y="541"/>
                    <a:pt x="305" y="541"/>
                  </a:cubicBezTo>
                  <a:cubicBezTo>
                    <a:pt x="305" y="497"/>
                    <a:pt x="305" y="497"/>
                    <a:pt x="305" y="497"/>
                  </a:cubicBezTo>
                  <a:cubicBezTo>
                    <a:pt x="310" y="496"/>
                    <a:pt x="314" y="496"/>
                    <a:pt x="319" y="495"/>
                  </a:cubicBezTo>
                  <a:cubicBezTo>
                    <a:pt x="334" y="536"/>
                    <a:pt x="334" y="536"/>
                    <a:pt x="334" y="536"/>
                  </a:cubicBezTo>
                  <a:cubicBezTo>
                    <a:pt x="396" y="513"/>
                    <a:pt x="396" y="513"/>
                    <a:pt x="396" y="513"/>
                  </a:cubicBezTo>
                  <a:cubicBezTo>
                    <a:pt x="381" y="472"/>
                    <a:pt x="381" y="472"/>
                    <a:pt x="381" y="472"/>
                  </a:cubicBezTo>
                  <a:cubicBezTo>
                    <a:pt x="385" y="470"/>
                    <a:pt x="389" y="468"/>
                    <a:pt x="393" y="465"/>
                  </a:cubicBezTo>
                  <a:cubicBezTo>
                    <a:pt x="421" y="499"/>
                    <a:pt x="421" y="499"/>
                    <a:pt x="421" y="499"/>
                  </a:cubicBezTo>
                  <a:cubicBezTo>
                    <a:pt x="472" y="456"/>
                    <a:pt x="472" y="456"/>
                    <a:pt x="472" y="456"/>
                  </a:cubicBezTo>
                  <a:cubicBezTo>
                    <a:pt x="443" y="423"/>
                    <a:pt x="443" y="423"/>
                    <a:pt x="443" y="423"/>
                  </a:cubicBezTo>
                  <a:cubicBezTo>
                    <a:pt x="446" y="419"/>
                    <a:pt x="449" y="416"/>
                    <a:pt x="452" y="412"/>
                  </a:cubicBezTo>
                  <a:cubicBezTo>
                    <a:pt x="490" y="434"/>
                    <a:pt x="490" y="434"/>
                    <a:pt x="490" y="434"/>
                  </a:cubicBezTo>
                  <a:cubicBezTo>
                    <a:pt x="523" y="377"/>
                    <a:pt x="523" y="377"/>
                    <a:pt x="523" y="377"/>
                  </a:cubicBezTo>
                  <a:cubicBezTo>
                    <a:pt x="485" y="355"/>
                    <a:pt x="485" y="355"/>
                    <a:pt x="485" y="355"/>
                  </a:cubicBezTo>
                  <a:cubicBezTo>
                    <a:pt x="487" y="351"/>
                    <a:pt x="489" y="346"/>
                    <a:pt x="490" y="342"/>
                  </a:cubicBezTo>
                  <a:cubicBezTo>
                    <a:pt x="533" y="350"/>
                    <a:pt x="533" y="350"/>
                    <a:pt x="533" y="350"/>
                  </a:cubicBezTo>
                  <a:cubicBezTo>
                    <a:pt x="545" y="285"/>
                    <a:pt x="545" y="285"/>
                    <a:pt x="545" y="285"/>
                  </a:cubicBezTo>
                  <a:cubicBezTo>
                    <a:pt x="501" y="277"/>
                    <a:pt x="501" y="277"/>
                    <a:pt x="501" y="277"/>
                  </a:cubicBezTo>
                  <a:cubicBezTo>
                    <a:pt x="502" y="275"/>
                    <a:pt x="502" y="272"/>
                    <a:pt x="502" y="270"/>
                  </a:cubicBezTo>
                  <a:close/>
                  <a:moveTo>
                    <a:pt x="386" y="270"/>
                  </a:moveTo>
                  <a:cubicBezTo>
                    <a:pt x="386" y="271"/>
                    <a:pt x="386" y="272"/>
                    <a:pt x="386" y="274"/>
                  </a:cubicBezTo>
                  <a:cubicBezTo>
                    <a:pt x="408" y="277"/>
                    <a:pt x="408" y="277"/>
                    <a:pt x="408" y="277"/>
                  </a:cubicBezTo>
                  <a:cubicBezTo>
                    <a:pt x="402" y="310"/>
                    <a:pt x="402" y="310"/>
                    <a:pt x="402" y="310"/>
                  </a:cubicBezTo>
                  <a:cubicBezTo>
                    <a:pt x="381" y="306"/>
                    <a:pt x="381" y="306"/>
                    <a:pt x="381" y="306"/>
                  </a:cubicBezTo>
                  <a:cubicBezTo>
                    <a:pt x="380" y="308"/>
                    <a:pt x="379" y="310"/>
                    <a:pt x="378" y="312"/>
                  </a:cubicBezTo>
                  <a:cubicBezTo>
                    <a:pt x="397" y="323"/>
                    <a:pt x="397" y="323"/>
                    <a:pt x="397" y="323"/>
                  </a:cubicBezTo>
                  <a:cubicBezTo>
                    <a:pt x="381" y="352"/>
                    <a:pt x="381" y="352"/>
                    <a:pt x="381" y="352"/>
                  </a:cubicBezTo>
                  <a:cubicBezTo>
                    <a:pt x="362" y="341"/>
                    <a:pt x="362" y="341"/>
                    <a:pt x="362" y="341"/>
                  </a:cubicBezTo>
                  <a:cubicBezTo>
                    <a:pt x="360" y="343"/>
                    <a:pt x="359" y="344"/>
                    <a:pt x="357" y="346"/>
                  </a:cubicBezTo>
                  <a:cubicBezTo>
                    <a:pt x="371" y="363"/>
                    <a:pt x="371" y="363"/>
                    <a:pt x="371" y="363"/>
                  </a:cubicBezTo>
                  <a:cubicBezTo>
                    <a:pt x="346" y="384"/>
                    <a:pt x="346" y="384"/>
                    <a:pt x="346" y="384"/>
                  </a:cubicBezTo>
                  <a:cubicBezTo>
                    <a:pt x="332" y="367"/>
                    <a:pt x="332" y="367"/>
                    <a:pt x="332" y="367"/>
                  </a:cubicBezTo>
                  <a:cubicBezTo>
                    <a:pt x="330" y="368"/>
                    <a:pt x="328" y="370"/>
                    <a:pt x="326" y="371"/>
                  </a:cubicBezTo>
                  <a:cubicBezTo>
                    <a:pt x="334" y="391"/>
                    <a:pt x="334" y="391"/>
                    <a:pt x="334" y="391"/>
                  </a:cubicBezTo>
                  <a:cubicBezTo>
                    <a:pt x="303" y="402"/>
                    <a:pt x="303" y="402"/>
                    <a:pt x="303" y="402"/>
                  </a:cubicBezTo>
                  <a:cubicBezTo>
                    <a:pt x="296" y="382"/>
                    <a:pt x="296" y="382"/>
                    <a:pt x="296" y="382"/>
                  </a:cubicBezTo>
                  <a:cubicBezTo>
                    <a:pt x="293" y="382"/>
                    <a:pt x="291" y="383"/>
                    <a:pt x="289" y="383"/>
                  </a:cubicBezTo>
                  <a:cubicBezTo>
                    <a:pt x="289" y="405"/>
                    <a:pt x="289" y="405"/>
                    <a:pt x="289" y="405"/>
                  </a:cubicBezTo>
                  <a:cubicBezTo>
                    <a:pt x="256" y="405"/>
                    <a:pt x="256" y="405"/>
                    <a:pt x="256" y="405"/>
                  </a:cubicBezTo>
                  <a:cubicBezTo>
                    <a:pt x="256" y="383"/>
                    <a:pt x="256" y="383"/>
                    <a:pt x="256" y="383"/>
                  </a:cubicBezTo>
                  <a:cubicBezTo>
                    <a:pt x="254" y="383"/>
                    <a:pt x="251" y="382"/>
                    <a:pt x="249" y="382"/>
                  </a:cubicBezTo>
                  <a:cubicBezTo>
                    <a:pt x="242" y="402"/>
                    <a:pt x="242" y="402"/>
                    <a:pt x="242" y="402"/>
                  </a:cubicBezTo>
                  <a:cubicBezTo>
                    <a:pt x="211" y="391"/>
                    <a:pt x="211" y="391"/>
                    <a:pt x="211" y="391"/>
                  </a:cubicBezTo>
                  <a:cubicBezTo>
                    <a:pt x="218" y="371"/>
                    <a:pt x="218" y="371"/>
                    <a:pt x="218" y="371"/>
                  </a:cubicBezTo>
                  <a:cubicBezTo>
                    <a:pt x="216" y="370"/>
                    <a:pt x="214" y="368"/>
                    <a:pt x="212" y="367"/>
                  </a:cubicBezTo>
                  <a:cubicBezTo>
                    <a:pt x="198" y="384"/>
                    <a:pt x="198" y="384"/>
                    <a:pt x="198" y="384"/>
                  </a:cubicBezTo>
                  <a:cubicBezTo>
                    <a:pt x="173" y="363"/>
                    <a:pt x="173" y="363"/>
                    <a:pt x="173" y="363"/>
                  </a:cubicBezTo>
                  <a:cubicBezTo>
                    <a:pt x="187" y="346"/>
                    <a:pt x="187" y="346"/>
                    <a:pt x="187" y="346"/>
                  </a:cubicBezTo>
                  <a:cubicBezTo>
                    <a:pt x="186" y="344"/>
                    <a:pt x="184" y="343"/>
                    <a:pt x="183" y="341"/>
                  </a:cubicBezTo>
                  <a:cubicBezTo>
                    <a:pt x="164" y="352"/>
                    <a:pt x="164" y="352"/>
                    <a:pt x="164" y="352"/>
                  </a:cubicBezTo>
                  <a:cubicBezTo>
                    <a:pt x="148" y="323"/>
                    <a:pt x="148" y="323"/>
                    <a:pt x="148" y="323"/>
                  </a:cubicBezTo>
                  <a:cubicBezTo>
                    <a:pt x="166" y="312"/>
                    <a:pt x="166" y="312"/>
                    <a:pt x="166" y="312"/>
                  </a:cubicBezTo>
                  <a:cubicBezTo>
                    <a:pt x="166" y="310"/>
                    <a:pt x="165" y="308"/>
                    <a:pt x="164" y="306"/>
                  </a:cubicBezTo>
                  <a:cubicBezTo>
                    <a:pt x="143" y="310"/>
                    <a:pt x="143" y="310"/>
                    <a:pt x="143" y="310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58" y="274"/>
                    <a:pt x="158" y="274"/>
                    <a:pt x="158" y="274"/>
                  </a:cubicBezTo>
                  <a:cubicBezTo>
                    <a:pt x="158" y="272"/>
                    <a:pt x="158" y="271"/>
                    <a:pt x="158" y="270"/>
                  </a:cubicBezTo>
                  <a:cubicBezTo>
                    <a:pt x="158" y="269"/>
                    <a:pt x="158" y="268"/>
                    <a:pt x="158" y="267"/>
                  </a:cubicBezTo>
                  <a:cubicBezTo>
                    <a:pt x="137" y="263"/>
                    <a:pt x="137" y="263"/>
                    <a:pt x="137" y="263"/>
                  </a:cubicBezTo>
                  <a:cubicBezTo>
                    <a:pt x="143" y="231"/>
                    <a:pt x="143" y="231"/>
                    <a:pt x="143" y="231"/>
                  </a:cubicBezTo>
                  <a:cubicBezTo>
                    <a:pt x="164" y="234"/>
                    <a:pt x="164" y="234"/>
                    <a:pt x="164" y="234"/>
                  </a:cubicBezTo>
                  <a:cubicBezTo>
                    <a:pt x="165" y="232"/>
                    <a:pt x="166" y="230"/>
                    <a:pt x="166" y="228"/>
                  </a:cubicBezTo>
                  <a:cubicBezTo>
                    <a:pt x="148" y="217"/>
                    <a:pt x="148" y="217"/>
                    <a:pt x="148" y="217"/>
                  </a:cubicBezTo>
                  <a:cubicBezTo>
                    <a:pt x="164" y="189"/>
                    <a:pt x="164" y="189"/>
                    <a:pt x="164" y="189"/>
                  </a:cubicBezTo>
                  <a:cubicBezTo>
                    <a:pt x="183" y="200"/>
                    <a:pt x="183" y="200"/>
                    <a:pt x="183" y="200"/>
                  </a:cubicBezTo>
                  <a:cubicBezTo>
                    <a:pt x="184" y="198"/>
                    <a:pt x="186" y="196"/>
                    <a:pt x="187" y="194"/>
                  </a:cubicBezTo>
                  <a:cubicBezTo>
                    <a:pt x="173" y="178"/>
                    <a:pt x="173" y="178"/>
                    <a:pt x="173" y="178"/>
                  </a:cubicBezTo>
                  <a:cubicBezTo>
                    <a:pt x="198" y="157"/>
                    <a:pt x="198" y="157"/>
                    <a:pt x="198" y="157"/>
                  </a:cubicBezTo>
                  <a:cubicBezTo>
                    <a:pt x="212" y="173"/>
                    <a:pt x="212" y="173"/>
                    <a:pt x="212" y="173"/>
                  </a:cubicBezTo>
                  <a:cubicBezTo>
                    <a:pt x="214" y="172"/>
                    <a:pt x="216" y="171"/>
                    <a:pt x="218" y="170"/>
                  </a:cubicBezTo>
                  <a:cubicBezTo>
                    <a:pt x="211" y="149"/>
                    <a:pt x="211" y="149"/>
                    <a:pt x="211" y="149"/>
                  </a:cubicBezTo>
                  <a:cubicBezTo>
                    <a:pt x="242" y="138"/>
                    <a:pt x="242" y="138"/>
                    <a:pt x="242" y="138"/>
                  </a:cubicBezTo>
                  <a:cubicBezTo>
                    <a:pt x="249" y="159"/>
                    <a:pt x="249" y="159"/>
                    <a:pt x="249" y="159"/>
                  </a:cubicBezTo>
                  <a:cubicBezTo>
                    <a:pt x="251" y="158"/>
                    <a:pt x="254" y="158"/>
                    <a:pt x="256" y="157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89" y="136"/>
                    <a:pt x="289" y="136"/>
                    <a:pt x="289" y="136"/>
                  </a:cubicBezTo>
                  <a:cubicBezTo>
                    <a:pt x="289" y="157"/>
                    <a:pt x="289" y="157"/>
                    <a:pt x="289" y="157"/>
                  </a:cubicBezTo>
                  <a:cubicBezTo>
                    <a:pt x="291" y="158"/>
                    <a:pt x="293" y="158"/>
                    <a:pt x="296" y="159"/>
                  </a:cubicBezTo>
                  <a:cubicBezTo>
                    <a:pt x="303" y="138"/>
                    <a:pt x="303" y="138"/>
                    <a:pt x="303" y="138"/>
                  </a:cubicBezTo>
                  <a:cubicBezTo>
                    <a:pt x="334" y="149"/>
                    <a:pt x="334" y="149"/>
                    <a:pt x="334" y="149"/>
                  </a:cubicBezTo>
                  <a:cubicBezTo>
                    <a:pt x="326" y="170"/>
                    <a:pt x="326" y="170"/>
                    <a:pt x="326" y="170"/>
                  </a:cubicBezTo>
                  <a:cubicBezTo>
                    <a:pt x="328" y="171"/>
                    <a:pt x="330" y="172"/>
                    <a:pt x="332" y="173"/>
                  </a:cubicBezTo>
                  <a:cubicBezTo>
                    <a:pt x="346" y="157"/>
                    <a:pt x="346" y="157"/>
                    <a:pt x="346" y="157"/>
                  </a:cubicBezTo>
                  <a:cubicBezTo>
                    <a:pt x="371" y="178"/>
                    <a:pt x="371" y="178"/>
                    <a:pt x="371" y="178"/>
                  </a:cubicBezTo>
                  <a:cubicBezTo>
                    <a:pt x="357" y="194"/>
                    <a:pt x="357" y="194"/>
                    <a:pt x="357" y="194"/>
                  </a:cubicBezTo>
                  <a:cubicBezTo>
                    <a:pt x="359" y="196"/>
                    <a:pt x="360" y="198"/>
                    <a:pt x="362" y="200"/>
                  </a:cubicBezTo>
                  <a:cubicBezTo>
                    <a:pt x="381" y="189"/>
                    <a:pt x="381" y="189"/>
                    <a:pt x="381" y="189"/>
                  </a:cubicBezTo>
                  <a:cubicBezTo>
                    <a:pt x="397" y="217"/>
                    <a:pt x="397" y="217"/>
                    <a:pt x="397" y="217"/>
                  </a:cubicBezTo>
                  <a:cubicBezTo>
                    <a:pt x="378" y="228"/>
                    <a:pt x="378" y="228"/>
                    <a:pt x="378" y="228"/>
                  </a:cubicBezTo>
                  <a:cubicBezTo>
                    <a:pt x="379" y="230"/>
                    <a:pt x="380" y="232"/>
                    <a:pt x="381" y="234"/>
                  </a:cubicBezTo>
                  <a:cubicBezTo>
                    <a:pt x="402" y="231"/>
                    <a:pt x="402" y="231"/>
                    <a:pt x="402" y="231"/>
                  </a:cubicBezTo>
                  <a:cubicBezTo>
                    <a:pt x="408" y="263"/>
                    <a:pt x="408" y="263"/>
                    <a:pt x="408" y="263"/>
                  </a:cubicBezTo>
                  <a:cubicBezTo>
                    <a:pt x="386" y="267"/>
                    <a:pt x="386" y="267"/>
                    <a:pt x="386" y="267"/>
                  </a:cubicBezTo>
                  <a:cubicBezTo>
                    <a:pt x="386" y="268"/>
                    <a:pt x="386" y="269"/>
                    <a:pt x="386" y="2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7" name="Freeform 30"/>
          <p:cNvSpPr>
            <a:spLocks noEditPoints="1"/>
          </p:cNvSpPr>
          <p:nvPr/>
        </p:nvSpPr>
        <p:spPr bwMode="auto">
          <a:xfrm>
            <a:off x="6276774" y="1700213"/>
            <a:ext cx="727390" cy="722573"/>
          </a:xfrm>
          <a:custGeom>
            <a:avLst/>
            <a:gdLst>
              <a:gd name="T0" fmla="*/ 447 w 447"/>
              <a:gd name="T1" fmla="*/ 210 h 444"/>
              <a:gd name="T2" fmla="*/ 398 w 447"/>
              <a:gd name="T3" fmla="*/ 152 h 444"/>
              <a:gd name="T4" fmla="*/ 371 w 447"/>
              <a:gd name="T5" fmla="*/ 105 h 444"/>
              <a:gd name="T6" fmla="*/ 345 w 447"/>
              <a:gd name="T7" fmla="*/ 34 h 444"/>
              <a:gd name="T8" fmla="*/ 325 w 447"/>
              <a:gd name="T9" fmla="*/ 23 h 444"/>
              <a:gd name="T10" fmla="*/ 250 w 447"/>
              <a:gd name="T11" fmla="*/ 36 h 444"/>
              <a:gd name="T12" fmla="*/ 196 w 447"/>
              <a:gd name="T13" fmla="*/ 36 h 444"/>
              <a:gd name="T14" fmla="*/ 122 w 447"/>
              <a:gd name="T15" fmla="*/ 23 h 444"/>
              <a:gd name="T16" fmla="*/ 101 w 447"/>
              <a:gd name="T17" fmla="*/ 34 h 444"/>
              <a:gd name="T18" fmla="*/ 76 w 447"/>
              <a:gd name="T19" fmla="*/ 105 h 444"/>
              <a:gd name="T20" fmla="*/ 49 w 447"/>
              <a:gd name="T21" fmla="*/ 152 h 444"/>
              <a:gd name="T22" fmla="*/ 0 w 447"/>
              <a:gd name="T23" fmla="*/ 210 h 444"/>
              <a:gd name="T24" fmla="*/ 35 w 447"/>
              <a:gd name="T25" fmla="*/ 227 h 444"/>
              <a:gd name="T26" fmla="*/ 45 w 447"/>
              <a:gd name="T27" fmla="*/ 281 h 444"/>
              <a:gd name="T28" fmla="*/ 45 w 447"/>
              <a:gd name="T29" fmla="*/ 356 h 444"/>
              <a:gd name="T30" fmla="*/ 60 w 447"/>
              <a:gd name="T31" fmla="*/ 374 h 444"/>
              <a:gd name="T32" fmla="*/ 134 w 447"/>
              <a:gd name="T33" fmla="*/ 387 h 444"/>
              <a:gd name="T34" fmla="*/ 185 w 447"/>
              <a:gd name="T35" fmla="*/ 406 h 444"/>
              <a:gd name="T36" fmla="*/ 250 w 447"/>
              <a:gd name="T37" fmla="*/ 444 h 444"/>
              <a:gd name="T38" fmla="*/ 274 w 447"/>
              <a:gd name="T39" fmla="*/ 440 h 444"/>
              <a:gd name="T40" fmla="*/ 322 w 447"/>
              <a:gd name="T41" fmla="*/ 382 h 444"/>
              <a:gd name="T42" fmla="*/ 364 w 447"/>
              <a:gd name="T43" fmla="*/ 347 h 444"/>
              <a:gd name="T44" fmla="*/ 429 w 447"/>
              <a:gd name="T45" fmla="*/ 309 h 444"/>
              <a:gd name="T46" fmla="*/ 437 w 447"/>
              <a:gd name="T47" fmla="*/ 287 h 444"/>
              <a:gd name="T48" fmla="*/ 411 w 447"/>
              <a:gd name="T49" fmla="*/ 222 h 444"/>
              <a:gd name="T50" fmla="*/ 344 w 447"/>
              <a:gd name="T51" fmla="*/ 136 h 444"/>
              <a:gd name="T52" fmla="*/ 209 w 447"/>
              <a:gd name="T53" fmla="*/ 56 h 444"/>
              <a:gd name="T54" fmla="*/ 87 w 447"/>
              <a:gd name="T55" fmla="*/ 127 h 444"/>
              <a:gd name="T56" fmla="*/ 57 w 447"/>
              <a:gd name="T57" fmla="*/ 222 h 444"/>
              <a:gd name="T58" fmla="*/ 75 w 447"/>
              <a:gd name="T59" fmla="*/ 222 h 444"/>
              <a:gd name="T60" fmla="*/ 209 w 447"/>
              <a:gd name="T61" fmla="*/ 388 h 444"/>
              <a:gd name="T62" fmla="*/ 209 w 447"/>
              <a:gd name="T63" fmla="*/ 369 h 444"/>
              <a:gd name="T64" fmla="*/ 209 w 447"/>
              <a:gd name="T65" fmla="*/ 336 h 444"/>
              <a:gd name="T66" fmla="*/ 197 w 447"/>
              <a:gd name="T67" fmla="*/ 334 h 444"/>
              <a:gd name="T68" fmla="*/ 172 w 447"/>
              <a:gd name="T69" fmla="*/ 304 h 444"/>
              <a:gd name="T70" fmla="*/ 151 w 447"/>
              <a:gd name="T71" fmla="*/ 286 h 444"/>
              <a:gd name="T72" fmla="*/ 117 w 447"/>
              <a:gd name="T73" fmla="*/ 267 h 444"/>
              <a:gd name="T74" fmla="*/ 113 w 447"/>
              <a:gd name="T75" fmla="*/ 256 h 444"/>
              <a:gd name="T76" fmla="*/ 126 w 447"/>
              <a:gd name="T77" fmla="*/ 222 h 444"/>
              <a:gd name="T78" fmla="*/ 113 w 447"/>
              <a:gd name="T79" fmla="*/ 188 h 444"/>
              <a:gd name="T80" fmla="*/ 117 w 447"/>
              <a:gd name="T81" fmla="*/ 177 h 444"/>
              <a:gd name="T82" fmla="*/ 151 w 447"/>
              <a:gd name="T83" fmla="*/ 157 h 444"/>
              <a:gd name="T84" fmla="*/ 172 w 447"/>
              <a:gd name="T85" fmla="*/ 139 h 444"/>
              <a:gd name="T86" fmla="*/ 197 w 447"/>
              <a:gd name="T87" fmla="*/ 109 h 444"/>
              <a:gd name="T88" fmla="*/ 209 w 447"/>
              <a:gd name="T89" fmla="*/ 107 h 444"/>
              <a:gd name="T90" fmla="*/ 243 w 447"/>
              <a:gd name="T91" fmla="*/ 127 h 444"/>
              <a:gd name="T92" fmla="*/ 269 w 447"/>
              <a:gd name="T93" fmla="*/ 136 h 444"/>
              <a:gd name="T94" fmla="*/ 308 w 447"/>
              <a:gd name="T95" fmla="*/ 143 h 444"/>
              <a:gd name="T96" fmla="*/ 316 w 447"/>
              <a:gd name="T97" fmla="*/ 152 h 444"/>
              <a:gd name="T98" fmla="*/ 316 w 447"/>
              <a:gd name="T99" fmla="*/ 191 h 444"/>
              <a:gd name="T100" fmla="*/ 320 w 447"/>
              <a:gd name="T101" fmla="*/ 219 h 444"/>
              <a:gd name="T102" fmla="*/ 339 w 447"/>
              <a:gd name="T103" fmla="*/ 228 h 444"/>
              <a:gd name="T104" fmla="*/ 314 w 447"/>
              <a:gd name="T105" fmla="*/ 258 h 444"/>
              <a:gd name="T106" fmla="*/ 300 w 447"/>
              <a:gd name="T107" fmla="*/ 282 h 444"/>
              <a:gd name="T108" fmla="*/ 286 w 447"/>
              <a:gd name="T109" fmla="*/ 319 h 444"/>
              <a:gd name="T110" fmla="*/ 276 w 447"/>
              <a:gd name="T111" fmla="*/ 325 h 444"/>
              <a:gd name="T112" fmla="*/ 237 w 447"/>
              <a:gd name="T113" fmla="*/ 318 h 444"/>
              <a:gd name="T114" fmla="*/ 238 w 447"/>
              <a:gd name="T115" fmla="*/ 369 h 444"/>
              <a:gd name="T116" fmla="*/ 238 w 447"/>
              <a:gd name="T117" fmla="*/ 388 h 444"/>
              <a:gd name="T118" fmla="*/ 371 w 447"/>
              <a:gd name="T119" fmla="*/ 222 h 444"/>
              <a:gd name="T120" fmla="*/ 390 w 447"/>
              <a:gd name="T121" fmla="*/ 222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7" h="444">
                <a:moveTo>
                  <a:pt x="411" y="222"/>
                </a:moveTo>
                <a:cubicBezTo>
                  <a:pt x="411" y="220"/>
                  <a:pt x="411" y="218"/>
                  <a:pt x="411" y="216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37" y="157"/>
                  <a:pt x="437" y="157"/>
                  <a:pt x="437" y="157"/>
                </a:cubicBezTo>
                <a:cubicBezTo>
                  <a:pt x="402" y="163"/>
                  <a:pt x="402" y="163"/>
                  <a:pt x="402" y="163"/>
                </a:cubicBezTo>
                <a:cubicBezTo>
                  <a:pt x="401" y="159"/>
                  <a:pt x="399" y="156"/>
                  <a:pt x="398" y="152"/>
                </a:cubicBezTo>
                <a:cubicBezTo>
                  <a:pt x="429" y="134"/>
                  <a:pt x="429" y="134"/>
                  <a:pt x="429" y="134"/>
                </a:cubicBezTo>
                <a:cubicBezTo>
                  <a:pt x="402" y="87"/>
                  <a:pt x="402" y="87"/>
                  <a:pt x="402" y="87"/>
                </a:cubicBezTo>
                <a:cubicBezTo>
                  <a:pt x="371" y="105"/>
                  <a:pt x="371" y="105"/>
                  <a:pt x="371" y="105"/>
                </a:cubicBezTo>
                <a:cubicBezTo>
                  <a:pt x="369" y="102"/>
                  <a:pt x="366" y="100"/>
                  <a:pt x="364" y="97"/>
                </a:cubicBezTo>
                <a:cubicBezTo>
                  <a:pt x="387" y="69"/>
                  <a:pt x="387" y="69"/>
                  <a:pt x="387" y="69"/>
                </a:cubicBezTo>
                <a:cubicBezTo>
                  <a:pt x="345" y="34"/>
                  <a:pt x="345" y="34"/>
                  <a:pt x="345" y="34"/>
                </a:cubicBezTo>
                <a:cubicBezTo>
                  <a:pt x="322" y="62"/>
                  <a:pt x="322" y="62"/>
                  <a:pt x="322" y="62"/>
                </a:cubicBezTo>
                <a:cubicBezTo>
                  <a:pt x="319" y="60"/>
                  <a:pt x="316" y="58"/>
                  <a:pt x="312" y="56"/>
                </a:cubicBezTo>
                <a:cubicBezTo>
                  <a:pt x="325" y="23"/>
                  <a:pt x="325" y="23"/>
                  <a:pt x="325" y="23"/>
                </a:cubicBezTo>
                <a:cubicBezTo>
                  <a:pt x="274" y="4"/>
                  <a:pt x="274" y="4"/>
                  <a:pt x="274" y="4"/>
                </a:cubicBezTo>
                <a:cubicBezTo>
                  <a:pt x="261" y="38"/>
                  <a:pt x="261" y="38"/>
                  <a:pt x="261" y="38"/>
                </a:cubicBezTo>
                <a:cubicBezTo>
                  <a:pt x="258" y="37"/>
                  <a:pt x="254" y="36"/>
                  <a:pt x="250" y="36"/>
                </a:cubicBezTo>
                <a:cubicBezTo>
                  <a:pt x="250" y="0"/>
                  <a:pt x="250" y="0"/>
                  <a:pt x="250" y="0"/>
                </a:cubicBezTo>
                <a:cubicBezTo>
                  <a:pt x="196" y="0"/>
                  <a:pt x="196" y="0"/>
                  <a:pt x="196" y="0"/>
                </a:cubicBezTo>
                <a:cubicBezTo>
                  <a:pt x="196" y="36"/>
                  <a:pt x="196" y="36"/>
                  <a:pt x="196" y="36"/>
                </a:cubicBezTo>
                <a:cubicBezTo>
                  <a:pt x="192" y="36"/>
                  <a:pt x="189" y="37"/>
                  <a:pt x="185" y="38"/>
                </a:cubicBezTo>
                <a:cubicBezTo>
                  <a:pt x="173" y="4"/>
                  <a:pt x="173" y="4"/>
                  <a:pt x="173" y="4"/>
                </a:cubicBezTo>
                <a:cubicBezTo>
                  <a:pt x="122" y="23"/>
                  <a:pt x="122" y="23"/>
                  <a:pt x="122" y="23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31" y="58"/>
                  <a:pt x="128" y="60"/>
                  <a:pt x="124" y="62"/>
                </a:cubicBezTo>
                <a:cubicBezTo>
                  <a:pt x="101" y="34"/>
                  <a:pt x="101" y="34"/>
                  <a:pt x="101" y="34"/>
                </a:cubicBezTo>
                <a:cubicBezTo>
                  <a:pt x="60" y="69"/>
                  <a:pt x="60" y="69"/>
                  <a:pt x="60" y="69"/>
                </a:cubicBezTo>
                <a:cubicBezTo>
                  <a:pt x="83" y="97"/>
                  <a:pt x="83" y="97"/>
                  <a:pt x="83" y="97"/>
                </a:cubicBezTo>
                <a:cubicBezTo>
                  <a:pt x="80" y="100"/>
                  <a:pt x="78" y="102"/>
                  <a:pt x="76" y="105"/>
                </a:cubicBezTo>
                <a:cubicBezTo>
                  <a:pt x="45" y="87"/>
                  <a:pt x="45" y="87"/>
                  <a:pt x="45" y="87"/>
                </a:cubicBezTo>
                <a:cubicBezTo>
                  <a:pt x="18" y="134"/>
                  <a:pt x="18" y="134"/>
                  <a:pt x="18" y="134"/>
                </a:cubicBezTo>
                <a:cubicBezTo>
                  <a:pt x="49" y="152"/>
                  <a:pt x="49" y="152"/>
                  <a:pt x="49" y="152"/>
                </a:cubicBezTo>
                <a:cubicBezTo>
                  <a:pt x="47" y="156"/>
                  <a:pt x="46" y="159"/>
                  <a:pt x="45" y="163"/>
                </a:cubicBezTo>
                <a:cubicBezTo>
                  <a:pt x="9" y="157"/>
                  <a:pt x="9" y="157"/>
                  <a:pt x="9" y="157"/>
                </a:cubicBezTo>
                <a:cubicBezTo>
                  <a:pt x="0" y="210"/>
                  <a:pt x="0" y="210"/>
                  <a:pt x="0" y="210"/>
                </a:cubicBezTo>
                <a:cubicBezTo>
                  <a:pt x="35" y="216"/>
                  <a:pt x="35" y="216"/>
                  <a:pt x="35" y="216"/>
                </a:cubicBezTo>
                <a:cubicBezTo>
                  <a:pt x="35" y="218"/>
                  <a:pt x="35" y="220"/>
                  <a:pt x="35" y="222"/>
                </a:cubicBezTo>
                <a:cubicBezTo>
                  <a:pt x="35" y="224"/>
                  <a:pt x="35" y="226"/>
                  <a:pt x="35" y="227"/>
                </a:cubicBezTo>
                <a:cubicBezTo>
                  <a:pt x="0" y="234"/>
                  <a:pt x="0" y="234"/>
                  <a:pt x="0" y="234"/>
                </a:cubicBezTo>
                <a:cubicBezTo>
                  <a:pt x="9" y="287"/>
                  <a:pt x="9" y="287"/>
                  <a:pt x="9" y="287"/>
                </a:cubicBezTo>
                <a:cubicBezTo>
                  <a:pt x="45" y="281"/>
                  <a:pt x="45" y="281"/>
                  <a:pt x="45" y="281"/>
                </a:cubicBezTo>
                <a:cubicBezTo>
                  <a:pt x="46" y="284"/>
                  <a:pt x="47" y="288"/>
                  <a:pt x="49" y="291"/>
                </a:cubicBezTo>
                <a:cubicBezTo>
                  <a:pt x="18" y="309"/>
                  <a:pt x="18" y="309"/>
                  <a:pt x="18" y="309"/>
                </a:cubicBezTo>
                <a:cubicBezTo>
                  <a:pt x="45" y="356"/>
                  <a:pt x="45" y="356"/>
                  <a:pt x="45" y="356"/>
                </a:cubicBezTo>
                <a:cubicBezTo>
                  <a:pt x="76" y="338"/>
                  <a:pt x="76" y="338"/>
                  <a:pt x="76" y="338"/>
                </a:cubicBezTo>
                <a:cubicBezTo>
                  <a:pt x="78" y="341"/>
                  <a:pt x="80" y="344"/>
                  <a:pt x="83" y="347"/>
                </a:cubicBezTo>
                <a:cubicBezTo>
                  <a:pt x="60" y="374"/>
                  <a:pt x="60" y="374"/>
                  <a:pt x="60" y="374"/>
                </a:cubicBezTo>
                <a:cubicBezTo>
                  <a:pt x="101" y="409"/>
                  <a:pt x="101" y="409"/>
                  <a:pt x="101" y="409"/>
                </a:cubicBezTo>
                <a:cubicBezTo>
                  <a:pt x="124" y="382"/>
                  <a:pt x="124" y="382"/>
                  <a:pt x="124" y="382"/>
                </a:cubicBezTo>
                <a:cubicBezTo>
                  <a:pt x="128" y="384"/>
                  <a:pt x="131" y="386"/>
                  <a:pt x="134" y="387"/>
                </a:cubicBezTo>
                <a:cubicBezTo>
                  <a:pt x="122" y="421"/>
                  <a:pt x="122" y="421"/>
                  <a:pt x="122" y="421"/>
                </a:cubicBezTo>
                <a:cubicBezTo>
                  <a:pt x="173" y="440"/>
                  <a:pt x="173" y="440"/>
                  <a:pt x="173" y="440"/>
                </a:cubicBezTo>
                <a:cubicBezTo>
                  <a:pt x="185" y="406"/>
                  <a:pt x="185" y="406"/>
                  <a:pt x="185" y="406"/>
                </a:cubicBezTo>
                <a:cubicBezTo>
                  <a:pt x="189" y="407"/>
                  <a:pt x="192" y="407"/>
                  <a:pt x="196" y="408"/>
                </a:cubicBezTo>
                <a:cubicBezTo>
                  <a:pt x="196" y="444"/>
                  <a:pt x="196" y="444"/>
                  <a:pt x="196" y="444"/>
                </a:cubicBezTo>
                <a:cubicBezTo>
                  <a:pt x="250" y="444"/>
                  <a:pt x="250" y="444"/>
                  <a:pt x="250" y="444"/>
                </a:cubicBezTo>
                <a:cubicBezTo>
                  <a:pt x="250" y="408"/>
                  <a:pt x="250" y="408"/>
                  <a:pt x="250" y="408"/>
                </a:cubicBezTo>
                <a:cubicBezTo>
                  <a:pt x="254" y="407"/>
                  <a:pt x="258" y="407"/>
                  <a:pt x="261" y="406"/>
                </a:cubicBezTo>
                <a:cubicBezTo>
                  <a:pt x="274" y="440"/>
                  <a:pt x="274" y="440"/>
                  <a:pt x="274" y="440"/>
                </a:cubicBezTo>
                <a:cubicBezTo>
                  <a:pt x="325" y="421"/>
                  <a:pt x="325" y="421"/>
                  <a:pt x="325" y="421"/>
                </a:cubicBezTo>
                <a:cubicBezTo>
                  <a:pt x="312" y="387"/>
                  <a:pt x="312" y="387"/>
                  <a:pt x="312" y="387"/>
                </a:cubicBezTo>
                <a:cubicBezTo>
                  <a:pt x="316" y="386"/>
                  <a:pt x="319" y="384"/>
                  <a:pt x="322" y="382"/>
                </a:cubicBezTo>
                <a:cubicBezTo>
                  <a:pt x="345" y="409"/>
                  <a:pt x="345" y="409"/>
                  <a:pt x="345" y="409"/>
                </a:cubicBezTo>
                <a:cubicBezTo>
                  <a:pt x="387" y="374"/>
                  <a:pt x="387" y="374"/>
                  <a:pt x="387" y="374"/>
                </a:cubicBezTo>
                <a:cubicBezTo>
                  <a:pt x="364" y="347"/>
                  <a:pt x="364" y="347"/>
                  <a:pt x="364" y="347"/>
                </a:cubicBezTo>
                <a:cubicBezTo>
                  <a:pt x="366" y="344"/>
                  <a:pt x="368" y="341"/>
                  <a:pt x="371" y="338"/>
                </a:cubicBezTo>
                <a:cubicBezTo>
                  <a:pt x="402" y="356"/>
                  <a:pt x="402" y="356"/>
                  <a:pt x="402" y="356"/>
                </a:cubicBezTo>
                <a:cubicBezTo>
                  <a:pt x="429" y="309"/>
                  <a:pt x="429" y="309"/>
                  <a:pt x="429" y="309"/>
                </a:cubicBezTo>
                <a:cubicBezTo>
                  <a:pt x="398" y="291"/>
                  <a:pt x="398" y="291"/>
                  <a:pt x="398" y="291"/>
                </a:cubicBezTo>
                <a:cubicBezTo>
                  <a:pt x="399" y="288"/>
                  <a:pt x="401" y="284"/>
                  <a:pt x="402" y="281"/>
                </a:cubicBezTo>
                <a:cubicBezTo>
                  <a:pt x="437" y="287"/>
                  <a:pt x="437" y="287"/>
                  <a:pt x="437" y="287"/>
                </a:cubicBezTo>
                <a:cubicBezTo>
                  <a:pt x="447" y="234"/>
                  <a:pt x="447" y="234"/>
                  <a:pt x="447" y="234"/>
                </a:cubicBezTo>
                <a:cubicBezTo>
                  <a:pt x="411" y="227"/>
                  <a:pt x="411" y="227"/>
                  <a:pt x="411" y="227"/>
                </a:cubicBezTo>
                <a:cubicBezTo>
                  <a:pt x="411" y="226"/>
                  <a:pt x="411" y="224"/>
                  <a:pt x="411" y="222"/>
                </a:cubicBezTo>
                <a:close/>
                <a:moveTo>
                  <a:pt x="238" y="56"/>
                </a:moveTo>
                <a:cubicBezTo>
                  <a:pt x="288" y="60"/>
                  <a:pt x="332" y="87"/>
                  <a:pt x="360" y="127"/>
                </a:cubicBezTo>
                <a:cubicBezTo>
                  <a:pt x="344" y="136"/>
                  <a:pt x="344" y="136"/>
                  <a:pt x="344" y="136"/>
                </a:cubicBezTo>
                <a:cubicBezTo>
                  <a:pt x="320" y="102"/>
                  <a:pt x="281" y="78"/>
                  <a:pt x="238" y="74"/>
                </a:cubicBezTo>
                <a:lnTo>
                  <a:pt x="238" y="56"/>
                </a:lnTo>
                <a:close/>
                <a:moveTo>
                  <a:pt x="209" y="56"/>
                </a:moveTo>
                <a:cubicBezTo>
                  <a:pt x="209" y="74"/>
                  <a:pt x="209" y="74"/>
                  <a:pt x="209" y="74"/>
                </a:cubicBezTo>
                <a:cubicBezTo>
                  <a:pt x="165" y="78"/>
                  <a:pt x="127" y="102"/>
                  <a:pt x="103" y="136"/>
                </a:cubicBezTo>
                <a:cubicBezTo>
                  <a:pt x="87" y="127"/>
                  <a:pt x="87" y="127"/>
                  <a:pt x="87" y="127"/>
                </a:cubicBezTo>
                <a:cubicBezTo>
                  <a:pt x="114" y="87"/>
                  <a:pt x="158" y="60"/>
                  <a:pt x="209" y="56"/>
                </a:cubicBezTo>
                <a:close/>
                <a:moveTo>
                  <a:pt x="73" y="292"/>
                </a:moveTo>
                <a:cubicBezTo>
                  <a:pt x="63" y="271"/>
                  <a:pt x="57" y="247"/>
                  <a:pt x="57" y="222"/>
                </a:cubicBezTo>
                <a:cubicBezTo>
                  <a:pt x="57" y="197"/>
                  <a:pt x="63" y="173"/>
                  <a:pt x="73" y="151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80" y="179"/>
                  <a:pt x="75" y="200"/>
                  <a:pt x="75" y="222"/>
                </a:cubicBezTo>
                <a:cubicBezTo>
                  <a:pt x="75" y="244"/>
                  <a:pt x="80" y="265"/>
                  <a:pt x="88" y="283"/>
                </a:cubicBezTo>
                <a:lnTo>
                  <a:pt x="73" y="292"/>
                </a:lnTo>
                <a:close/>
                <a:moveTo>
                  <a:pt x="209" y="388"/>
                </a:moveTo>
                <a:cubicBezTo>
                  <a:pt x="158" y="383"/>
                  <a:pt x="114" y="356"/>
                  <a:pt x="87" y="317"/>
                </a:cubicBezTo>
                <a:cubicBezTo>
                  <a:pt x="103" y="308"/>
                  <a:pt x="103" y="308"/>
                  <a:pt x="103" y="308"/>
                </a:cubicBezTo>
                <a:cubicBezTo>
                  <a:pt x="127" y="342"/>
                  <a:pt x="165" y="365"/>
                  <a:pt x="209" y="369"/>
                </a:cubicBezTo>
                <a:lnTo>
                  <a:pt x="209" y="388"/>
                </a:lnTo>
                <a:close/>
                <a:moveTo>
                  <a:pt x="237" y="336"/>
                </a:moveTo>
                <a:cubicBezTo>
                  <a:pt x="209" y="336"/>
                  <a:pt x="209" y="336"/>
                  <a:pt x="209" y="336"/>
                </a:cubicBezTo>
                <a:cubicBezTo>
                  <a:pt x="209" y="318"/>
                  <a:pt x="209" y="318"/>
                  <a:pt x="209" y="318"/>
                </a:cubicBezTo>
                <a:cubicBezTo>
                  <a:pt x="207" y="318"/>
                  <a:pt x="205" y="317"/>
                  <a:pt x="204" y="317"/>
                </a:cubicBezTo>
                <a:cubicBezTo>
                  <a:pt x="197" y="334"/>
                  <a:pt x="197" y="334"/>
                  <a:pt x="197" y="334"/>
                </a:cubicBezTo>
                <a:cubicBezTo>
                  <a:pt x="171" y="325"/>
                  <a:pt x="171" y="325"/>
                  <a:pt x="171" y="325"/>
                </a:cubicBezTo>
                <a:cubicBezTo>
                  <a:pt x="177" y="307"/>
                  <a:pt x="177" y="307"/>
                  <a:pt x="177" y="307"/>
                </a:cubicBezTo>
                <a:cubicBezTo>
                  <a:pt x="176" y="306"/>
                  <a:pt x="174" y="305"/>
                  <a:pt x="172" y="304"/>
                </a:cubicBezTo>
                <a:cubicBezTo>
                  <a:pt x="160" y="319"/>
                  <a:pt x="160" y="319"/>
                  <a:pt x="160" y="319"/>
                </a:cubicBezTo>
                <a:cubicBezTo>
                  <a:pt x="139" y="301"/>
                  <a:pt x="139" y="301"/>
                  <a:pt x="139" y="301"/>
                </a:cubicBezTo>
                <a:cubicBezTo>
                  <a:pt x="151" y="286"/>
                  <a:pt x="151" y="286"/>
                  <a:pt x="151" y="286"/>
                </a:cubicBezTo>
                <a:cubicBezTo>
                  <a:pt x="149" y="285"/>
                  <a:pt x="148" y="284"/>
                  <a:pt x="147" y="282"/>
                </a:cubicBezTo>
                <a:cubicBezTo>
                  <a:pt x="131" y="291"/>
                  <a:pt x="131" y="291"/>
                  <a:pt x="131" y="291"/>
                </a:cubicBezTo>
                <a:cubicBezTo>
                  <a:pt x="117" y="267"/>
                  <a:pt x="117" y="267"/>
                  <a:pt x="117" y="267"/>
                </a:cubicBezTo>
                <a:cubicBezTo>
                  <a:pt x="133" y="258"/>
                  <a:pt x="133" y="258"/>
                  <a:pt x="133" y="258"/>
                </a:cubicBezTo>
                <a:cubicBezTo>
                  <a:pt x="132" y="256"/>
                  <a:pt x="132" y="254"/>
                  <a:pt x="131" y="252"/>
                </a:cubicBezTo>
                <a:cubicBezTo>
                  <a:pt x="113" y="256"/>
                  <a:pt x="113" y="256"/>
                  <a:pt x="113" y="256"/>
                </a:cubicBezTo>
                <a:cubicBezTo>
                  <a:pt x="108" y="228"/>
                  <a:pt x="108" y="228"/>
                  <a:pt x="108" y="228"/>
                </a:cubicBezTo>
                <a:cubicBezTo>
                  <a:pt x="126" y="225"/>
                  <a:pt x="126" y="225"/>
                  <a:pt x="126" y="225"/>
                </a:cubicBezTo>
                <a:cubicBezTo>
                  <a:pt x="126" y="224"/>
                  <a:pt x="126" y="223"/>
                  <a:pt x="126" y="222"/>
                </a:cubicBezTo>
                <a:cubicBezTo>
                  <a:pt x="126" y="221"/>
                  <a:pt x="126" y="220"/>
                  <a:pt x="126" y="219"/>
                </a:cubicBezTo>
                <a:cubicBezTo>
                  <a:pt x="108" y="216"/>
                  <a:pt x="108" y="216"/>
                  <a:pt x="108" y="216"/>
                </a:cubicBezTo>
                <a:cubicBezTo>
                  <a:pt x="113" y="188"/>
                  <a:pt x="113" y="188"/>
                  <a:pt x="113" y="188"/>
                </a:cubicBezTo>
                <a:cubicBezTo>
                  <a:pt x="131" y="191"/>
                  <a:pt x="131" y="191"/>
                  <a:pt x="131" y="191"/>
                </a:cubicBezTo>
                <a:cubicBezTo>
                  <a:pt x="132" y="189"/>
                  <a:pt x="132" y="188"/>
                  <a:pt x="133" y="186"/>
                </a:cubicBezTo>
                <a:cubicBezTo>
                  <a:pt x="117" y="177"/>
                  <a:pt x="117" y="177"/>
                  <a:pt x="117" y="177"/>
                </a:cubicBezTo>
                <a:cubicBezTo>
                  <a:pt x="131" y="152"/>
                  <a:pt x="131" y="152"/>
                  <a:pt x="131" y="152"/>
                </a:cubicBezTo>
                <a:cubicBezTo>
                  <a:pt x="147" y="162"/>
                  <a:pt x="147" y="162"/>
                  <a:pt x="147" y="162"/>
                </a:cubicBezTo>
                <a:cubicBezTo>
                  <a:pt x="148" y="160"/>
                  <a:pt x="149" y="159"/>
                  <a:pt x="151" y="157"/>
                </a:cubicBezTo>
                <a:cubicBezTo>
                  <a:pt x="139" y="143"/>
                  <a:pt x="139" y="143"/>
                  <a:pt x="139" y="143"/>
                </a:cubicBezTo>
                <a:cubicBezTo>
                  <a:pt x="160" y="125"/>
                  <a:pt x="160" y="125"/>
                  <a:pt x="160" y="125"/>
                </a:cubicBezTo>
                <a:cubicBezTo>
                  <a:pt x="172" y="139"/>
                  <a:pt x="172" y="139"/>
                  <a:pt x="172" y="139"/>
                </a:cubicBezTo>
                <a:cubicBezTo>
                  <a:pt x="174" y="138"/>
                  <a:pt x="176" y="137"/>
                  <a:pt x="177" y="136"/>
                </a:cubicBezTo>
                <a:cubicBezTo>
                  <a:pt x="171" y="119"/>
                  <a:pt x="171" y="119"/>
                  <a:pt x="171" y="119"/>
                </a:cubicBezTo>
                <a:cubicBezTo>
                  <a:pt x="197" y="109"/>
                  <a:pt x="197" y="109"/>
                  <a:pt x="197" y="109"/>
                </a:cubicBezTo>
                <a:cubicBezTo>
                  <a:pt x="204" y="127"/>
                  <a:pt x="204" y="127"/>
                  <a:pt x="204" y="127"/>
                </a:cubicBezTo>
                <a:cubicBezTo>
                  <a:pt x="205" y="126"/>
                  <a:pt x="207" y="126"/>
                  <a:pt x="209" y="126"/>
                </a:cubicBezTo>
                <a:cubicBezTo>
                  <a:pt x="209" y="107"/>
                  <a:pt x="209" y="107"/>
                  <a:pt x="209" y="107"/>
                </a:cubicBezTo>
                <a:cubicBezTo>
                  <a:pt x="237" y="107"/>
                  <a:pt x="237" y="107"/>
                  <a:pt x="237" y="107"/>
                </a:cubicBezTo>
                <a:cubicBezTo>
                  <a:pt x="237" y="126"/>
                  <a:pt x="237" y="126"/>
                  <a:pt x="237" y="126"/>
                </a:cubicBezTo>
                <a:cubicBezTo>
                  <a:pt x="239" y="126"/>
                  <a:pt x="241" y="126"/>
                  <a:pt x="243" y="127"/>
                </a:cubicBezTo>
                <a:cubicBezTo>
                  <a:pt x="249" y="109"/>
                  <a:pt x="249" y="109"/>
                  <a:pt x="249" y="109"/>
                </a:cubicBezTo>
                <a:cubicBezTo>
                  <a:pt x="276" y="119"/>
                  <a:pt x="276" y="119"/>
                  <a:pt x="276" y="119"/>
                </a:cubicBezTo>
                <a:cubicBezTo>
                  <a:pt x="269" y="136"/>
                  <a:pt x="269" y="136"/>
                  <a:pt x="269" y="136"/>
                </a:cubicBezTo>
                <a:cubicBezTo>
                  <a:pt x="271" y="137"/>
                  <a:pt x="273" y="138"/>
                  <a:pt x="274" y="139"/>
                </a:cubicBezTo>
                <a:cubicBezTo>
                  <a:pt x="286" y="125"/>
                  <a:pt x="286" y="125"/>
                  <a:pt x="286" y="125"/>
                </a:cubicBezTo>
                <a:cubicBezTo>
                  <a:pt x="308" y="143"/>
                  <a:pt x="308" y="143"/>
                  <a:pt x="308" y="143"/>
                </a:cubicBezTo>
                <a:cubicBezTo>
                  <a:pt x="296" y="157"/>
                  <a:pt x="296" y="157"/>
                  <a:pt x="296" y="157"/>
                </a:cubicBezTo>
                <a:cubicBezTo>
                  <a:pt x="297" y="159"/>
                  <a:pt x="298" y="160"/>
                  <a:pt x="300" y="162"/>
                </a:cubicBezTo>
                <a:cubicBezTo>
                  <a:pt x="316" y="152"/>
                  <a:pt x="316" y="152"/>
                  <a:pt x="316" y="152"/>
                </a:cubicBezTo>
                <a:cubicBezTo>
                  <a:pt x="330" y="177"/>
                  <a:pt x="330" y="177"/>
                  <a:pt x="330" y="177"/>
                </a:cubicBezTo>
                <a:cubicBezTo>
                  <a:pt x="314" y="186"/>
                  <a:pt x="314" y="186"/>
                  <a:pt x="314" y="186"/>
                </a:cubicBezTo>
                <a:cubicBezTo>
                  <a:pt x="314" y="188"/>
                  <a:pt x="315" y="189"/>
                  <a:pt x="316" y="191"/>
                </a:cubicBezTo>
                <a:cubicBezTo>
                  <a:pt x="334" y="188"/>
                  <a:pt x="334" y="188"/>
                  <a:pt x="334" y="188"/>
                </a:cubicBezTo>
                <a:cubicBezTo>
                  <a:pt x="339" y="216"/>
                  <a:pt x="339" y="216"/>
                  <a:pt x="339" y="216"/>
                </a:cubicBezTo>
                <a:cubicBezTo>
                  <a:pt x="320" y="219"/>
                  <a:pt x="320" y="219"/>
                  <a:pt x="320" y="219"/>
                </a:cubicBezTo>
                <a:cubicBezTo>
                  <a:pt x="320" y="220"/>
                  <a:pt x="320" y="221"/>
                  <a:pt x="320" y="222"/>
                </a:cubicBezTo>
                <a:cubicBezTo>
                  <a:pt x="320" y="223"/>
                  <a:pt x="320" y="224"/>
                  <a:pt x="320" y="225"/>
                </a:cubicBezTo>
                <a:cubicBezTo>
                  <a:pt x="339" y="228"/>
                  <a:pt x="339" y="228"/>
                  <a:pt x="339" y="228"/>
                </a:cubicBezTo>
                <a:cubicBezTo>
                  <a:pt x="334" y="256"/>
                  <a:pt x="334" y="256"/>
                  <a:pt x="334" y="256"/>
                </a:cubicBezTo>
                <a:cubicBezTo>
                  <a:pt x="316" y="252"/>
                  <a:pt x="316" y="252"/>
                  <a:pt x="316" y="252"/>
                </a:cubicBezTo>
                <a:cubicBezTo>
                  <a:pt x="315" y="254"/>
                  <a:pt x="314" y="256"/>
                  <a:pt x="314" y="258"/>
                </a:cubicBezTo>
                <a:cubicBezTo>
                  <a:pt x="330" y="267"/>
                  <a:pt x="330" y="267"/>
                  <a:pt x="330" y="267"/>
                </a:cubicBezTo>
                <a:cubicBezTo>
                  <a:pt x="316" y="291"/>
                  <a:pt x="316" y="291"/>
                  <a:pt x="316" y="291"/>
                </a:cubicBezTo>
                <a:cubicBezTo>
                  <a:pt x="300" y="282"/>
                  <a:pt x="300" y="282"/>
                  <a:pt x="300" y="282"/>
                </a:cubicBezTo>
                <a:cubicBezTo>
                  <a:pt x="298" y="284"/>
                  <a:pt x="297" y="285"/>
                  <a:pt x="296" y="286"/>
                </a:cubicBezTo>
                <a:cubicBezTo>
                  <a:pt x="308" y="301"/>
                  <a:pt x="308" y="301"/>
                  <a:pt x="308" y="301"/>
                </a:cubicBezTo>
                <a:cubicBezTo>
                  <a:pt x="286" y="319"/>
                  <a:pt x="286" y="319"/>
                  <a:pt x="286" y="319"/>
                </a:cubicBezTo>
                <a:cubicBezTo>
                  <a:pt x="274" y="304"/>
                  <a:pt x="274" y="304"/>
                  <a:pt x="274" y="304"/>
                </a:cubicBezTo>
                <a:cubicBezTo>
                  <a:pt x="273" y="305"/>
                  <a:pt x="271" y="306"/>
                  <a:pt x="269" y="307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249" y="334"/>
                  <a:pt x="249" y="334"/>
                  <a:pt x="249" y="334"/>
                </a:cubicBezTo>
                <a:cubicBezTo>
                  <a:pt x="243" y="317"/>
                  <a:pt x="243" y="317"/>
                  <a:pt x="243" y="317"/>
                </a:cubicBezTo>
                <a:cubicBezTo>
                  <a:pt x="241" y="317"/>
                  <a:pt x="239" y="318"/>
                  <a:pt x="237" y="318"/>
                </a:cubicBezTo>
                <a:lnTo>
                  <a:pt x="237" y="336"/>
                </a:lnTo>
                <a:close/>
                <a:moveTo>
                  <a:pt x="238" y="388"/>
                </a:moveTo>
                <a:cubicBezTo>
                  <a:pt x="238" y="369"/>
                  <a:pt x="238" y="369"/>
                  <a:pt x="238" y="369"/>
                </a:cubicBezTo>
                <a:cubicBezTo>
                  <a:pt x="281" y="365"/>
                  <a:pt x="320" y="342"/>
                  <a:pt x="344" y="308"/>
                </a:cubicBezTo>
                <a:cubicBezTo>
                  <a:pt x="360" y="317"/>
                  <a:pt x="360" y="317"/>
                  <a:pt x="360" y="317"/>
                </a:cubicBezTo>
                <a:cubicBezTo>
                  <a:pt x="332" y="356"/>
                  <a:pt x="288" y="383"/>
                  <a:pt x="238" y="388"/>
                </a:cubicBezTo>
                <a:close/>
                <a:moveTo>
                  <a:pt x="374" y="292"/>
                </a:moveTo>
                <a:cubicBezTo>
                  <a:pt x="358" y="283"/>
                  <a:pt x="358" y="283"/>
                  <a:pt x="358" y="283"/>
                </a:cubicBezTo>
                <a:cubicBezTo>
                  <a:pt x="367" y="265"/>
                  <a:pt x="371" y="244"/>
                  <a:pt x="371" y="222"/>
                </a:cubicBezTo>
                <a:cubicBezTo>
                  <a:pt x="371" y="200"/>
                  <a:pt x="367" y="179"/>
                  <a:pt x="358" y="160"/>
                </a:cubicBezTo>
                <a:cubicBezTo>
                  <a:pt x="374" y="151"/>
                  <a:pt x="374" y="151"/>
                  <a:pt x="374" y="151"/>
                </a:cubicBezTo>
                <a:cubicBezTo>
                  <a:pt x="384" y="173"/>
                  <a:pt x="390" y="197"/>
                  <a:pt x="390" y="222"/>
                </a:cubicBezTo>
                <a:cubicBezTo>
                  <a:pt x="390" y="247"/>
                  <a:pt x="384" y="271"/>
                  <a:pt x="374" y="292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Freeform 31"/>
          <p:cNvSpPr>
            <a:spLocks noEditPoints="1"/>
          </p:cNvSpPr>
          <p:nvPr/>
        </p:nvSpPr>
        <p:spPr bwMode="auto">
          <a:xfrm>
            <a:off x="5685641" y="4067499"/>
            <a:ext cx="727390" cy="722573"/>
          </a:xfrm>
          <a:custGeom>
            <a:avLst/>
            <a:gdLst>
              <a:gd name="T0" fmla="*/ 437 w 447"/>
              <a:gd name="T1" fmla="*/ 157 h 444"/>
              <a:gd name="T2" fmla="*/ 402 w 447"/>
              <a:gd name="T3" fmla="*/ 88 h 444"/>
              <a:gd name="T4" fmla="*/ 346 w 447"/>
              <a:gd name="T5" fmla="*/ 35 h 444"/>
              <a:gd name="T6" fmla="*/ 274 w 447"/>
              <a:gd name="T7" fmla="*/ 4 h 444"/>
              <a:gd name="T8" fmla="*/ 197 w 447"/>
              <a:gd name="T9" fmla="*/ 0 h 444"/>
              <a:gd name="T10" fmla="*/ 122 w 447"/>
              <a:gd name="T11" fmla="*/ 23 h 444"/>
              <a:gd name="T12" fmla="*/ 60 w 447"/>
              <a:gd name="T13" fmla="*/ 70 h 444"/>
              <a:gd name="T14" fmla="*/ 18 w 447"/>
              <a:gd name="T15" fmla="*/ 135 h 444"/>
              <a:gd name="T16" fmla="*/ 0 w 447"/>
              <a:gd name="T17" fmla="*/ 210 h 444"/>
              <a:gd name="T18" fmla="*/ 0 w 447"/>
              <a:gd name="T19" fmla="*/ 234 h 444"/>
              <a:gd name="T20" fmla="*/ 18 w 447"/>
              <a:gd name="T21" fmla="*/ 310 h 444"/>
              <a:gd name="T22" fmla="*/ 60 w 447"/>
              <a:gd name="T23" fmla="*/ 375 h 444"/>
              <a:gd name="T24" fmla="*/ 122 w 447"/>
              <a:gd name="T25" fmla="*/ 421 h 444"/>
              <a:gd name="T26" fmla="*/ 197 w 447"/>
              <a:gd name="T27" fmla="*/ 444 h 444"/>
              <a:gd name="T28" fmla="*/ 274 w 447"/>
              <a:gd name="T29" fmla="*/ 440 h 444"/>
              <a:gd name="T30" fmla="*/ 346 w 447"/>
              <a:gd name="T31" fmla="*/ 410 h 444"/>
              <a:gd name="T32" fmla="*/ 402 w 447"/>
              <a:gd name="T33" fmla="*/ 357 h 444"/>
              <a:gd name="T34" fmla="*/ 437 w 447"/>
              <a:gd name="T35" fmla="*/ 287 h 444"/>
              <a:gd name="T36" fmla="*/ 238 w 447"/>
              <a:gd name="T37" fmla="*/ 56 h 444"/>
              <a:gd name="T38" fmla="*/ 238 w 447"/>
              <a:gd name="T39" fmla="*/ 56 h 444"/>
              <a:gd name="T40" fmla="*/ 314 w 447"/>
              <a:gd name="T41" fmla="*/ 258 h 444"/>
              <a:gd name="T42" fmla="*/ 296 w 447"/>
              <a:gd name="T43" fmla="*/ 287 h 444"/>
              <a:gd name="T44" fmla="*/ 339 w 447"/>
              <a:gd name="T45" fmla="*/ 228 h 444"/>
              <a:gd name="T46" fmla="*/ 133 w 447"/>
              <a:gd name="T47" fmla="*/ 258 h 444"/>
              <a:gd name="T48" fmla="*/ 113 w 447"/>
              <a:gd name="T49" fmla="*/ 227 h 444"/>
              <a:gd name="T50" fmla="*/ 147 w 447"/>
              <a:gd name="T51" fmla="*/ 282 h 444"/>
              <a:gd name="T52" fmla="*/ 133 w 447"/>
              <a:gd name="T53" fmla="*/ 186 h 444"/>
              <a:gd name="T54" fmla="*/ 151 w 447"/>
              <a:gd name="T55" fmla="*/ 158 h 444"/>
              <a:gd name="T56" fmla="*/ 108 w 447"/>
              <a:gd name="T57" fmla="*/ 216 h 444"/>
              <a:gd name="T58" fmla="*/ 314 w 447"/>
              <a:gd name="T59" fmla="*/ 186 h 444"/>
              <a:gd name="T60" fmla="*/ 334 w 447"/>
              <a:gd name="T61" fmla="*/ 217 h 444"/>
              <a:gd name="T62" fmla="*/ 300 w 447"/>
              <a:gd name="T63" fmla="*/ 162 h 444"/>
              <a:gd name="T64" fmla="*/ 270 w 447"/>
              <a:gd name="T65" fmla="*/ 137 h 444"/>
              <a:gd name="T66" fmla="*/ 229 w 447"/>
              <a:gd name="T67" fmla="*/ 210 h 444"/>
              <a:gd name="T68" fmla="*/ 243 w 447"/>
              <a:gd name="T69" fmla="*/ 127 h 444"/>
              <a:gd name="T70" fmla="*/ 146 w 447"/>
              <a:gd name="T71" fmla="*/ 137 h 444"/>
              <a:gd name="T72" fmla="*/ 171 w 447"/>
              <a:gd name="T73" fmla="*/ 119 h 444"/>
              <a:gd name="T74" fmla="*/ 210 w 447"/>
              <a:gd name="T75" fmla="*/ 107 h 444"/>
              <a:gd name="T76" fmla="*/ 87 w 447"/>
              <a:gd name="T77" fmla="*/ 127 h 444"/>
              <a:gd name="T78" fmla="*/ 73 w 447"/>
              <a:gd name="T79" fmla="*/ 152 h 444"/>
              <a:gd name="T80" fmla="*/ 73 w 447"/>
              <a:gd name="T81" fmla="*/ 293 h 444"/>
              <a:gd name="T82" fmla="*/ 209 w 447"/>
              <a:gd name="T83" fmla="*/ 370 h 444"/>
              <a:gd name="T84" fmla="*/ 171 w 447"/>
              <a:gd name="T85" fmla="*/ 325 h 444"/>
              <a:gd name="T86" fmla="*/ 146 w 447"/>
              <a:gd name="T87" fmla="*/ 307 h 444"/>
              <a:gd name="T88" fmla="*/ 210 w 447"/>
              <a:gd name="T89" fmla="*/ 318 h 444"/>
              <a:gd name="T90" fmla="*/ 229 w 447"/>
              <a:gd name="T91" fmla="*/ 235 h 444"/>
              <a:gd name="T92" fmla="*/ 270 w 447"/>
              <a:gd name="T93" fmla="*/ 308 h 444"/>
              <a:gd name="T94" fmla="*/ 238 w 447"/>
              <a:gd name="T95" fmla="*/ 318 h 444"/>
              <a:gd name="T96" fmla="*/ 344 w 447"/>
              <a:gd name="T97" fmla="*/ 308 h 444"/>
              <a:gd name="T98" fmla="*/ 359 w 447"/>
              <a:gd name="T99" fmla="*/ 284 h 444"/>
              <a:gd name="T100" fmla="*/ 390 w 447"/>
              <a:gd name="T101" fmla="*/ 222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7" h="444">
                <a:moveTo>
                  <a:pt x="412" y="222"/>
                </a:moveTo>
                <a:cubicBezTo>
                  <a:pt x="412" y="220"/>
                  <a:pt x="412" y="218"/>
                  <a:pt x="412" y="217"/>
                </a:cubicBezTo>
                <a:cubicBezTo>
                  <a:pt x="447" y="210"/>
                  <a:pt x="447" y="210"/>
                  <a:pt x="447" y="210"/>
                </a:cubicBezTo>
                <a:cubicBezTo>
                  <a:pt x="437" y="157"/>
                  <a:pt x="437" y="157"/>
                  <a:pt x="437" y="157"/>
                </a:cubicBezTo>
                <a:cubicBezTo>
                  <a:pt x="402" y="163"/>
                  <a:pt x="402" y="163"/>
                  <a:pt x="402" y="163"/>
                </a:cubicBezTo>
                <a:cubicBezTo>
                  <a:pt x="401" y="160"/>
                  <a:pt x="400" y="156"/>
                  <a:pt x="398" y="153"/>
                </a:cubicBezTo>
                <a:cubicBezTo>
                  <a:pt x="429" y="135"/>
                  <a:pt x="429" y="135"/>
                  <a:pt x="429" y="135"/>
                </a:cubicBezTo>
                <a:cubicBezTo>
                  <a:pt x="402" y="88"/>
                  <a:pt x="402" y="88"/>
                  <a:pt x="402" y="88"/>
                </a:cubicBezTo>
                <a:cubicBezTo>
                  <a:pt x="371" y="106"/>
                  <a:pt x="371" y="106"/>
                  <a:pt x="371" y="106"/>
                </a:cubicBezTo>
                <a:cubicBezTo>
                  <a:pt x="369" y="103"/>
                  <a:pt x="366" y="100"/>
                  <a:pt x="364" y="97"/>
                </a:cubicBezTo>
                <a:cubicBezTo>
                  <a:pt x="387" y="70"/>
                  <a:pt x="387" y="70"/>
                  <a:pt x="387" y="70"/>
                </a:cubicBezTo>
                <a:cubicBezTo>
                  <a:pt x="346" y="35"/>
                  <a:pt x="346" y="35"/>
                  <a:pt x="346" y="35"/>
                </a:cubicBezTo>
                <a:cubicBezTo>
                  <a:pt x="322" y="62"/>
                  <a:pt x="322" y="62"/>
                  <a:pt x="322" y="62"/>
                </a:cubicBezTo>
                <a:cubicBezTo>
                  <a:pt x="319" y="60"/>
                  <a:pt x="316" y="58"/>
                  <a:pt x="313" y="57"/>
                </a:cubicBezTo>
                <a:cubicBezTo>
                  <a:pt x="325" y="23"/>
                  <a:pt x="325" y="23"/>
                  <a:pt x="325" y="23"/>
                </a:cubicBezTo>
                <a:cubicBezTo>
                  <a:pt x="274" y="4"/>
                  <a:pt x="274" y="4"/>
                  <a:pt x="274" y="4"/>
                </a:cubicBezTo>
                <a:cubicBezTo>
                  <a:pt x="262" y="38"/>
                  <a:pt x="262" y="38"/>
                  <a:pt x="262" y="38"/>
                </a:cubicBezTo>
                <a:cubicBezTo>
                  <a:pt x="258" y="37"/>
                  <a:pt x="254" y="37"/>
                  <a:pt x="251" y="36"/>
                </a:cubicBezTo>
                <a:cubicBezTo>
                  <a:pt x="251" y="0"/>
                  <a:pt x="251" y="0"/>
                  <a:pt x="251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93" y="37"/>
                  <a:pt x="189" y="37"/>
                  <a:pt x="185" y="38"/>
                </a:cubicBezTo>
                <a:cubicBezTo>
                  <a:pt x="173" y="4"/>
                  <a:pt x="173" y="4"/>
                  <a:pt x="173" y="4"/>
                </a:cubicBezTo>
                <a:cubicBezTo>
                  <a:pt x="122" y="23"/>
                  <a:pt x="122" y="23"/>
                  <a:pt x="122" y="23"/>
                </a:cubicBezTo>
                <a:cubicBezTo>
                  <a:pt x="135" y="57"/>
                  <a:pt x="135" y="57"/>
                  <a:pt x="135" y="57"/>
                </a:cubicBezTo>
                <a:cubicBezTo>
                  <a:pt x="131" y="58"/>
                  <a:pt x="128" y="60"/>
                  <a:pt x="125" y="62"/>
                </a:cubicBezTo>
                <a:cubicBezTo>
                  <a:pt x="102" y="35"/>
                  <a:pt x="102" y="35"/>
                  <a:pt x="102" y="35"/>
                </a:cubicBezTo>
                <a:cubicBezTo>
                  <a:pt x="60" y="70"/>
                  <a:pt x="60" y="70"/>
                  <a:pt x="60" y="70"/>
                </a:cubicBezTo>
                <a:cubicBezTo>
                  <a:pt x="83" y="97"/>
                  <a:pt x="83" y="97"/>
                  <a:pt x="83" y="97"/>
                </a:cubicBezTo>
                <a:cubicBezTo>
                  <a:pt x="81" y="100"/>
                  <a:pt x="78" y="103"/>
                  <a:pt x="76" y="106"/>
                </a:cubicBezTo>
                <a:cubicBezTo>
                  <a:pt x="45" y="88"/>
                  <a:pt x="45" y="88"/>
                  <a:pt x="45" y="88"/>
                </a:cubicBezTo>
                <a:cubicBezTo>
                  <a:pt x="18" y="135"/>
                  <a:pt x="18" y="135"/>
                  <a:pt x="18" y="135"/>
                </a:cubicBezTo>
                <a:cubicBezTo>
                  <a:pt x="49" y="153"/>
                  <a:pt x="49" y="153"/>
                  <a:pt x="49" y="153"/>
                </a:cubicBezTo>
                <a:cubicBezTo>
                  <a:pt x="48" y="156"/>
                  <a:pt x="46" y="160"/>
                  <a:pt x="45" y="163"/>
                </a:cubicBezTo>
                <a:cubicBezTo>
                  <a:pt x="10" y="157"/>
                  <a:pt x="10" y="157"/>
                  <a:pt x="10" y="157"/>
                </a:cubicBezTo>
                <a:cubicBezTo>
                  <a:pt x="0" y="210"/>
                  <a:pt x="0" y="210"/>
                  <a:pt x="0" y="210"/>
                </a:cubicBezTo>
                <a:cubicBezTo>
                  <a:pt x="36" y="217"/>
                  <a:pt x="36" y="217"/>
                  <a:pt x="36" y="217"/>
                </a:cubicBezTo>
                <a:cubicBezTo>
                  <a:pt x="36" y="218"/>
                  <a:pt x="36" y="220"/>
                  <a:pt x="36" y="222"/>
                </a:cubicBezTo>
                <a:cubicBezTo>
                  <a:pt x="36" y="224"/>
                  <a:pt x="36" y="226"/>
                  <a:pt x="36" y="228"/>
                </a:cubicBezTo>
                <a:cubicBezTo>
                  <a:pt x="0" y="234"/>
                  <a:pt x="0" y="234"/>
                  <a:pt x="0" y="234"/>
                </a:cubicBezTo>
                <a:cubicBezTo>
                  <a:pt x="10" y="287"/>
                  <a:pt x="10" y="287"/>
                  <a:pt x="10" y="287"/>
                </a:cubicBezTo>
                <a:cubicBezTo>
                  <a:pt x="45" y="281"/>
                  <a:pt x="45" y="281"/>
                  <a:pt x="45" y="281"/>
                </a:cubicBezTo>
                <a:cubicBezTo>
                  <a:pt x="46" y="285"/>
                  <a:pt x="48" y="288"/>
                  <a:pt x="49" y="292"/>
                </a:cubicBezTo>
                <a:cubicBezTo>
                  <a:pt x="18" y="310"/>
                  <a:pt x="18" y="310"/>
                  <a:pt x="18" y="310"/>
                </a:cubicBezTo>
                <a:cubicBezTo>
                  <a:pt x="45" y="357"/>
                  <a:pt x="45" y="357"/>
                  <a:pt x="45" y="357"/>
                </a:cubicBezTo>
                <a:cubicBezTo>
                  <a:pt x="76" y="339"/>
                  <a:pt x="76" y="339"/>
                  <a:pt x="76" y="339"/>
                </a:cubicBezTo>
                <a:cubicBezTo>
                  <a:pt x="78" y="342"/>
                  <a:pt x="81" y="344"/>
                  <a:pt x="83" y="347"/>
                </a:cubicBezTo>
                <a:cubicBezTo>
                  <a:pt x="60" y="375"/>
                  <a:pt x="60" y="375"/>
                  <a:pt x="60" y="375"/>
                </a:cubicBezTo>
                <a:cubicBezTo>
                  <a:pt x="102" y="410"/>
                  <a:pt x="102" y="410"/>
                  <a:pt x="102" y="410"/>
                </a:cubicBezTo>
                <a:cubicBezTo>
                  <a:pt x="125" y="382"/>
                  <a:pt x="125" y="382"/>
                  <a:pt x="125" y="382"/>
                </a:cubicBezTo>
                <a:cubicBezTo>
                  <a:pt x="128" y="384"/>
                  <a:pt x="131" y="386"/>
                  <a:pt x="135" y="388"/>
                </a:cubicBezTo>
                <a:cubicBezTo>
                  <a:pt x="122" y="421"/>
                  <a:pt x="122" y="421"/>
                  <a:pt x="122" y="421"/>
                </a:cubicBezTo>
                <a:cubicBezTo>
                  <a:pt x="173" y="440"/>
                  <a:pt x="173" y="440"/>
                  <a:pt x="173" y="440"/>
                </a:cubicBezTo>
                <a:cubicBezTo>
                  <a:pt x="185" y="406"/>
                  <a:pt x="185" y="406"/>
                  <a:pt x="185" y="406"/>
                </a:cubicBezTo>
                <a:cubicBezTo>
                  <a:pt x="189" y="407"/>
                  <a:pt x="193" y="408"/>
                  <a:pt x="197" y="408"/>
                </a:cubicBezTo>
                <a:cubicBezTo>
                  <a:pt x="197" y="444"/>
                  <a:pt x="197" y="444"/>
                  <a:pt x="197" y="444"/>
                </a:cubicBezTo>
                <a:cubicBezTo>
                  <a:pt x="251" y="444"/>
                  <a:pt x="251" y="444"/>
                  <a:pt x="251" y="444"/>
                </a:cubicBezTo>
                <a:cubicBezTo>
                  <a:pt x="251" y="408"/>
                  <a:pt x="251" y="408"/>
                  <a:pt x="251" y="408"/>
                </a:cubicBezTo>
                <a:cubicBezTo>
                  <a:pt x="254" y="408"/>
                  <a:pt x="258" y="407"/>
                  <a:pt x="262" y="406"/>
                </a:cubicBezTo>
                <a:cubicBezTo>
                  <a:pt x="274" y="440"/>
                  <a:pt x="274" y="440"/>
                  <a:pt x="274" y="440"/>
                </a:cubicBezTo>
                <a:cubicBezTo>
                  <a:pt x="325" y="421"/>
                  <a:pt x="325" y="421"/>
                  <a:pt x="325" y="421"/>
                </a:cubicBezTo>
                <a:cubicBezTo>
                  <a:pt x="313" y="388"/>
                  <a:pt x="313" y="388"/>
                  <a:pt x="313" y="388"/>
                </a:cubicBezTo>
                <a:cubicBezTo>
                  <a:pt x="316" y="386"/>
                  <a:pt x="319" y="384"/>
                  <a:pt x="322" y="382"/>
                </a:cubicBezTo>
                <a:cubicBezTo>
                  <a:pt x="346" y="410"/>
                  <a:pt x="346" y="410"/>
                  <a:pt x="346" y="410"/>
                </a:cubicBezTo>
                <a:cubicBezTo>
                  <a:pt x="387" y="375"/>
                  <a:pt x="387" y="375"/>
                  <a:pt x="387" y="375"/>
                </a:cubicBezTo>
                <a:cubicBezTo>
                  <a:pt x="364" y="347"/>
                  <a:pt x="364" y="347"/>
                  <a:pt x="364" y="347"/>
                </a:cubicBezTo>
                <a:cubicBezTo>
                  <a:pt x="366" y="344"/>
                  <a:pt x="369" y="342"/>
                  <a:pt x="371" y="339"/>
                </a:cubicBezTo>
                <a:cubicBezTo>
                  <a:pt x="402" y="357"/>
                  <a:pt x="402" y="357"/>
                  <a:pt x="402" y="357"/>
                </a:cubicBezTo>
                <a:cubicBezTo>
                  <a:pt x="429" y="310"/>
                  <a:pt x="429" y="310"/>
                  <a:pt x="429" y="310"/>
                </a:cubicBezTo>
                <a:cubicBezTo>
                  <a:pt x="398" y="292"/>
                  <a:pt x="398" y="292"/>
                  <a:pt x="398" y="292"/>
                </a:cubicBezTo>
                <a:cubicBezTo>
                  <a:pt x="400" y="288"/>
                  <a:pt x="401" y="285"/>
                  <a:pt x="402" y="281"/>
                </a:cubicBezTo>
                <a:cubicBezTo>
                  <a:pt x="437" y="287"/>
                  <a:pt x="437" y="287"/>
                  <a:pt x="437" y="287"/>
                </a:cubicBezTo>
                <a:cubicBezTo>
                  <a:pt x="447" y="234"/>
                  <a:pt x="447" y="234"/>
                  <a:pt x="447" y="234"/>
                </a:cubicBezTo>
                <a:cubicBezTo>
                  <a:pt x="412" y="228"/>
                  <a:pt x="412" y="228"/>
                  <a:pt x="412" y="228"/>
                </a:cubicBezTo>
                <a:cubicBezTo>
                  <a:pt x="412" y="226"/>
                  <a:pt x="412" y="224"/>
                  <a:pt x="412" y="222"/>
                </a:cubicBezTo>
                <a:close/>
                <a:moveTo>
                  <a:pt x="238" y="56"/>
                </a:moveTo>
                <a:cubicBezTo>
                  <a:pt x="288" y="61"/>
                  <a:pt x="333" y="88"/>
                  <a:pt x="360" y="127"/>
                </a:cubicBezTo>
                <a:cubicBezTo>
                  <a:pt x="344" y="136"/>
                  <a:pt x="344" y="136"/>
                  <a:pt x="344" y="136"/>
                </a:cubicBezTo>
                <a:cubicBezTo>
                  <a:pt x="320" y="102"/>
                  <a:pt x="282" y="79"/>
                  <a:pt x="238" y="75"/>
                </a:cubicBezTo>
                <a:lnTo>
                  <a:pt x="238" y="56"/>
                </a:lnTo>
                <a:close/>
                <a:moveTo>
                  <a:pt x="339" y="228"/>
                </a:moveTo>
                <a:cubicBezTo>
                  <a:pt x="334" y="256"/>
                  <a:pt x="334" y="256"/>
                  <a:pt x="334" y="256"/>
                </a:cubicBezTo>
                <a:cubicBezTo>
                  <a:pt x="316" y="253"/>
                  <a:pt x="316" y="253"/>
                  <a:pt x="316" y="253"/>
                </a:cubicBezTo>
                <a:cubicBezTo>
                  <a:pt x="315" y="254"/>
                  <a:pt x="315" y="256"/>
                  <a:pt x="314" y="258"/>
                </a:cubicBezTo>
                <a:cubicBezTo>
                  <a:pt x="330" y="267"/>
                  <a:pt x="330" y="267"/>
                  <a:pt x="330" y="267"/>
                </a:cubicBezTo>
                <a:cubicBezTo>
                  <a:pt x="316" y="292"/>
                  <a:pt x="316" y="292"/>
                  <a:pt x="316" y="292"/>
                </a:cubicBezTo>
                <a:cubicBezTo>
                  <a:pt x="300" y="282"/>
                  <a:pt x="300" y="282"/>
                  <a:pt x="300" y="282"/>
                </a:cubicBezTo>
                <a:cubicBezTo>
                  <a:pt x="299" y="284"/>
                  <a:pt x="297" y="285"/>
                  <a:pt x="296" y="287"/>
                </a:cubicBezTo>
                <a:cubicBezTo>
                  <a:pt x="299" y="290"/>
                  <a:pt x="299" y="290"/>
                  <a:pt x="299" y="290"/>
                </a:cubicBezTo>
                <a:cubicBezTo>
                  <a:pt x="236" y="227"/>
                  <a:pt x="236" y="227"/>
                  <a:pt x="236" y="227"/>
                </a:cubicBezTo>
                <a:cubicBezTo>
                  <a:pt x="334" y="227"/>
                  <a:pt x="334" y="227"/>
                  <a:pt x="334" y="227"/>
                </a:cubicBezTo>
                <a:lnTo>
                  <a:pt x="339" y="228"/>
                </a:lnTo>
                <a:close/>
                <a:moveTo>
                  <a:pt x="147" y="282"/>
                </a:moveTo>
                <a:cubicBezTo>
                  <a:pt x="131" y="292"/>
                  <a:pt x="131" y="292"/>
                  <a:pt x="131" y="292"/>
                </a:cubicBezTo>
                <a:cubicBezTo>
                  <a:pt x="117" y="267"/>
                  <a:pt x="117" y="267"/>
                  <a:pt x="117" y="267"/>
                </a:cubicBezTo>
                <a:cubicBezTo>
                  <a:pt x="133" y="258"/>
                  <a:pt x="133" y="258"/>
                  <a:pt x="133" y="258"/>
                </a:cubicBezTo>
                <a:cubicBezTo>
                  <a:pt x="133" y="256"/>
                  <a:pt x="132" y="254"/>
                  <a:pt x="131" y="253"/>
                </a:cubicBezTo>
                <a:cubicBezTo>
                  <a:pt x="113" y="256"/>
                  <a:pt x="113" y="256"/>
                  <a:pt x="113" y="256"/>
                </a:cubicBezTo>
                <a:cubicBezTo>
                  <a:pt x="108" y="228"/>
                  <a:pt x="108" y="228"/>
                  <a:pt x="108" y="228"/>
                </a:cubicBezTo>
                <a:cubicBezTo>
                  <a:pt x="113" y="227"/>
                  <a:pt x="113" y="227"/>
                  <a:pt x="113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148" y="290"/>
                  <a:pt x="148" y="290"/>
                  <a:pt x="148" y="290"/>
                </a:cubicBezTo>
                <a:cubicBezTo>
                  <a:pt x="151" y="287"/>
                  <a:pt x="151" y="287"/>
                  <a:pt x="151" y="287"/>
                </a:cubicBezTo>
                <a:cubicBezTo>
                  <a:pt x="150" y="285"/>
                  <a:pt x="149" y="284"/>
                  <a:pt x="147" y="282"/>
                </a:cubicBezTo>
                <a:close/>
                <a:moveTo>
                  <a:pt x="108" y="216"/>
                </a:moveTo>
                <a:cubicBezTo>
                  <a:pt x="113" y="188"/>
                  <a:pt x="113" y="188"/>
                  <a:pt x="113" y="188"/>
                </a:cubicBezTo>
                <a:cubicBezTo>
                  <a:pt x="131" y="192"/>
                  <a:pt x="131" y="192"/>
                  <a:pt x="131" y="192"/>
                </a:cubicBezTo>
                <a:cubicBezTo>
                  <a:pt x="132" y="190"/>
                  <a:pt x="133" y="188"/>
                  <a:pt x="133" y="186"/>
                </a:cubicBezTo>
                <a:cubicBezTo>
                  <a:pt x="117" y="177"/>
                  <a:pt x="117" y="177"/>
                  <a:pt x="117" y="177"/>
                </a:cubicBezTo>
                <a:cubicBezTo>
                  <a:pt x="131" y="153"/>
                  <a:pt x="131" y="153"/>
                  <a:pt x="131" y="153"/>
                </a:cubicBezTo>
                <a:cubicBezTo>
                  <a:pt x="147" y="162"/>
                  <a:pt x="147" y="162"/>
                  <a:pt x="147" y="162"/>
                </a:cubicBezTo>
                <a:cubicBezTo>
                  <a:pt x="149" y="160"/>
                  <a:pt x="150" y="159"/>
                  <a:pt x="151" y="158"/>
                </a:cubicBezTo>
                <a:cubicBezTo>
                  <a:pt x="148" y="154"/>
                  <a:pt x="148" y="154"/>
                  <a:pt x="148" y="154"/>
                </a:cubicBezTo>
                <a:cubicBezTo>
                  <a:pt x="211" y="217"/>
                  <a:pt x="211" y="217"/>
                  <a:pt x="211" y="217"/>
                </a:cubicBezTo>
                <a:cubicBezTo>
                  <a:pt x="113" y="217"/>
                  <a:pt x="113" y="217"/>
                  <a:pt x="113" y="217"/>
                </a:cubicBezTo>
                <a:lnTo>
                  <a:pt x="108" y="216"/>
                </a:lnTo>
                <a:close/>
                <a:moveTo>
                  <a:pt x="300" y="162"/>
                </a:moveTo>
                <a:cubicBezTo>
                  <a:pt x="316" y="153"/>
                  <a:pt x="316" y="153"/>
                  <a:pt x="316" y="153"/>
                </a:cubicBezTo>
                <a:cubicBezTo>
                  <a:pt x="330" y="177"/>
                  <a:pt x="330" y="177"/>
                  <a:pt x="330" y="177"/>
                </a:cubicBezTo>
                <a:cubicBezTo>
                  <a:pt x="314" y="186"/>
                  <a:pt x="314" y="186"/>
                  <a:pt x="314" y="186"/>
                </a:cubicBezTo>
                <a:cubicBezTo>
                  <a:pt x="315" y="188"/>
                  <a:pt x="315" y="190"/>
                  <a:pt x="316" y="192"/>
                </a:cubicBezTo>
                <a:cubicBezTo>
                  <a:pt x="334" y="188"/>
                  <a:pt x="334" y="188"/>
                  <a:pt x="334" y="188"/>
                </a:cubicBezTo>
                <a:cubicBezTo>
                  <a:pt x="339" y="216"/>
                  <a:pt x="339" y="216"/>
                  <a:pt x="339" y="216"/>
                </a:cubicBezTo>
                <a:cubicBezTo>
                  <a:pt x="334" y="217"/>
                  <a:pt x="334" y="217"/>
                  <a:pt x="334" y="217"/>
                </a:cubicBezTo>
                <a:cubicBezTo>
                  <a:pt x="236" y="217"/>
                  <a:pt x="236" y="217"/>
                  <a:pt x="236" y="217"/>
                </a:cubicBezTo>
                <a:cubicBezTo>
                  <a:pt x="299" y="154"/>
                  <a:pt x="299" y="154"/>
                  <a:pt x="299" y="154"/>
                </a:cubicBezTo>
                <a:cubicBezTo>
                  <a:pt x="296" y="158"/>
                  <a:pt x="296" y="158"/>
                  <a:pt x="296" y="158"/>
                </a:cubicBezTo>
                <a:cubicBezTo>
                  <a:pt x="297" y="159"/>
                  <a:pt x="299" y="160"/>
                  <a:pt x="300" y="162"/>
                </a:cubicBezTo>
                <a:close/>
                <a:moveTo>
                  <a:pt x="243" y="127"/>
                </a:moveTo>
                <a:cubicBezTo>
                  <a:pt x="250" y="110"/>
                  <a:pt x="250" y="110"/>
                  <a:pt x="250" y="110"/>
                </a:cubicBezTo>
                <a:cubicBezTo>
                  <a:pt x="276" y="119"/>
                  <a:pt x="276" y="119"/>
                  <a:pt x="276" y="119"/>
                </a:cubicBezTo>
                <a:cubicBezTo>
                  <a:pt x="270" y="137"/>
                  <a:pt x="270" y="137"/>
                  <a:pt x="270" y="137"/>
                </a:cubicBezTo>
                <a:cubicBezTo>
                  <a:pt x="271" y="138"/>
                  <a:pt x="273" y="138"/>
                  <a:pt x="275" y="140"/>
                </a:cubicBezTo>
                <a:cubicBezTo>
                  <a:pt x="287" y="125"/>
                  <a:pt x="287" y="125"/>
                  <a:pt x="287" y="125"/>
                </a:cubicBezTo>
                <a:cubicBezTo>
                  <a:pt x="301" y="137"/>
                  <a:pt x="301" y="137"/>
                  <a:pt x="301" y="137"/>
                </a:cubicBezTo>
                <a:cubicBezTo>
                  <a:pt x="229" y="210"/>
                  <a:pt x="229" y="210"/>
                  <a:pt x="229" y="210"/>
                </a:cubicBezTo>
                <a:cubicBezTo>
                  <a:pt x="229" y="107"/>
                  <a:pt x="229" y="107"/>
                  <a:pt x="229" y="107"/>
                </a:cubicBezTo>
                <a:cubicBezTo>
                  <a:pt x="238" y="107"/>
                  <a:pt x="238" y="107"/>
                  <a:pt x="238" y="107"/>
                </a:cubicBezTo>
                <a:cubicBezTo>
                  <a:pt x="238" y="126"/>
                  <a:pt x="238" y="126"/>
                  <a:pt x="238" y="126"/>
                </a:cubicBezTo>
                <a:cubicBezTo>
                  <a:pt x="240" y="126"/>
                  <a:pt x="241" y="127"/>
                  <a:pt x="243" y="127"/>
                </a:cubicBezTo>
                <a:close/>
                <a:moveTo>
                  <a:pt x="210" y="107"/>
                </a:moveTo>
                <a:cubicBezTo>
                  <a:pt x="218" y="107"/>
                  <a:pt x="218" y="107"/>
                  <a:pt x="218" y="107"/>
                </a:cubicBezTo>
                <a:cubicBezTo>
                  <a:pt x="218" y="210"/>
                  <a:pt x="218" y="210"/>
                  <a:pt x="218" y="210"/>
                </a:cubicBezTo>
                <a:cubicBezTo>
                  <a:pt x="146" y="137"/>
                  <a:pt x="146" y="137"/>
                  <a:pt x="146" y="137"/>
                </a:cubicBezTo>
                <a:cubicBezTo>
                  <a:pt x="161" y="125"/>
                  <a:pt x="161" y="125"/>
                  <a:pt x="161" y="125"/>
                </a:cubicBezTo>
                <a:cubicBezTo>
                  <a:pt x="173" y="140"/>
                  <a:pt x="173" y="140"/>
                  <a:pt x="173" y="140"/>
                </a:cubicBezTo>
                <a:cubicBezTo>
                  <a:pt x="174" y="138"/>
                  <a:pt x="176" y="138"/>
                  <a:pt x="178" y="137"/>
                </a:cubicBezTo>
                <a:cubicBezTo>
                  <a:pt x="171" y="119"/>
                  <a:pt x="171" y="119"/>
                  <a:pt x="171" y="119"/>
                </a:cubicBezTo>
                <a:cubicBezTo>
                  <a:pt x="198" y="110"/>
                  <a:pt x="198" y="110"/>
                  <a:pt x="198" y="110"/>
                </a:cubicBezTo>
                <a:cubicBezTo>
                  <a:pt x="204" y="127"/>
                  <a:pt x="204" y="127"/>
                  <a:pt x="204" y="127"/>
                </a:cubicBezTo>
                <a:cubicBezTo>
                  <a:pt x="206" y="127"/>
                  <a:pt x="208" y="126"/>
                  <a:pt x="210" y="126"/>
                </a:cubicBezTo>
                <a:lnTo>
                  <a:pt x="210" y="107"/>
                </a:lnTo>
                <a:close/>
                <a:moveTo>
                  <a:pt x="209" y="56"/>
                </a:moveTo>
                <a:cubicBezTo>
                  <a:pt x="209" y="75"/>
                  <a:pt x="209" y="75"/>
                  <a:pt x="209" y="75"/>
                </a:cubicBezTo>
                <a:cubicBezTo>
                  <a:pt x="166" y="79"/>
                  <a:pt x="127" y="102"/>
                  <a:pt x="103" y="136"/>
                </a:cubicBezTo>
                <a:cubicBezTo>
                  <a:pt x="87" y="127"/>
                  <a:pt x="87" y="127"/>
                  <a:pt x="87" y="127"/>
                </a:cubicBezTo>
                <a:cubicBezTo>
                  <a:pt x="115" y="88"/>
                  <a:pt x="159" y="61"/>
                  <a:pt x="209" y="56"/>
                </a:cubicBezTo>
                <a:close/>
                <a:moveTo>
                  <a:pt x="73" y="293"/>
                </a:moveTo>
                <a:cubicBezTo>
                  <a:pt x="63" y="271"/>
                  <a:pt x="57" y="247"/>
                  <a:pt x="57" y="222"/>
                </a:cubicBezTo>
                <a:cubicBezTo>
                  <a:pt x="57" y="197"/>
                  <a:pt x="63" y="173"/>
                  <a:pt x="73" y="152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0" y="179"/>
                  <a:pt x="75" y="200"/>
                  <a:pt x="75" y="222"/>
                </a:cubicBezTo>
                <a:cubicBezTo>
                  <a:pt x="75" y="244"/>
                  <a:pt x="80" y="265"/>
                  <a:pt x="89" y="284"/>
                </a:cubicBezTo>
                <a:lnTo>
                  <a:pt x="73" y="293"/>
                </a:lnTo>
                <a:close/>
                <a:moveTo>
                  <a:pt x="209" y="388"/>
                </a:moveTo>
                <a:cubicBezTo>
                  <a:pt x="159" y="384"/>
                  <a:pt x="115" y="357"/>
                  <a:pt x="87" y="317"/>
                </a:cubicBezTo>
                <a:cubicBezTo>
                  <a:pt x="103" y="308"/>
                  <a:pt x="103" y="308"/>
                  <a:pt x="103" y="308"/>
                </a:cubicBezTo>
                <a:cubicBezTo>
                  <a:pt x="127" y="342"/>
                  <a:pt x="166" y="366"/>
                  <a:pt x="209" y="370"/>
                </a:cubicBezTo>
                <a:lnTo>
                  <a:pt x="209" y="388"/>
                </a:lnTo>
                <a:close/>
                <a:moveTo>
                  <a:pt x="204" y="317"/>
                </a:moveTo>
                <a:cubicBezTo>
                  <a:pt x="198" y="335"/>
                  <a:pt x="198" y="335"/>
                  <a:pt x="198" y="335"/>
                </a:cubicBezTo>
                <a:cubicBezTo>
                  <a:pt x="171" y="325"/>
                  <a:pt x="171" y="325"/>
                  <a:pt x="171" y="325"/>
                </a:cubicBezTo>
                <a:cubicBezTo>
                  <a:pt x="178" y="308"/>
                  <a:pt x="178" y="308"/>
                  <a:pt x="178" y="308"/>
                </a:cubicBezTo>
                <a:cubicBezTo>
                  <a:pt x="176" y="307"/>
                  <a:pt x="174" y="306"/>
                  <a:pt x="173" y="305"/>
                </a:cubicBezTo>
                <a:cubicBezTo>
                  <a:pt x="161" y="319"/>
                  <a:pt x="161" y="319"/>
                  <a:pt x="161" y="319"/>
                </a:cubicBezTo>
                <a:cubicBezTo>
                  <a:pt x="146" y="307"/>
                  <a:pt x="146" y="307"/>
                  <a:pt x="146" y="307"/>
                </a:cubicBezTo>
                <a:cubicBezTo>
                  <a:pt x="218" y="235"/>
                  <a:pt x="218" y="235"/>
                  <a:pt x="218" y="235"/>
                </a:cubicBezTo>
                <a:cubicBezTo>
                  <a:pt x="218" y="337"/>
                  <a:pt x="218" y="337"/>
                  <a:pt x="218" y="337"/>
                </a:cubicBezTo>
                <a:cubicBezTo>
                  <a:pt x="210" y="337"/>
                  <a:pt x="210" y="337"/>
                  <a:pt x="210" y="337"/>
                </a:cubicBezTo>
                <a:cubicBezTo>
                  <a:pt x="210" y="318"/>
                  <a:pt x="210" y="318"/>
                  <a:pt x="210" y="318"/>
                </a:cubicBezTo>
                <a:cubicBezTo>
                  <a:pt x="208" y="318"/>
                  <a:pt x="206" y="318"/>
                  <a:pt x="204" y="317"/>
                </a:cubicBezTo>
                <a:close/>
                <a:moveTo>
                  <a:pt x="238" y="337"/>
                </a:moveTo>
                <a:cubicBezTo>
                  <a:pt x="229" y="337"/>
                  <a:pt x="229" y="337"/>
                  <a:pt x="229" y="337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301" y="307"/>
                  <a:pt x="301" y="307"/>
                  <a:pt x="301" y="307"/>
                </a:cubicBezTo>
                <a:cubicBezTo>
                  <a:pt x="287" y="319"/>
                  <a:pt x="287" y="319"/>
                  <a:pt x="287" y="319"/>
                </a:cubicBezTo>
                <a:cubicBezTo>
                  <a:pt x="275" y="305"/>
                  <a:pt x="275" y="305"/>
                  <a:pt x="275" y="305"/>
                </a:cubicBezTo>
                <a:cubicBezTo>
                  <a:pt x="273" y="306"/>
                  <a:pt x="271" y="307"/>
                  <a:pt x="270" y="308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250" y="335"/>
                  <a:pt x="250" y="335"/>
                  <a:pt x="250" y="335"/>
                </a:cubicBezTo>
                <a:cubicBezTo>
                  <a:pt x="243" y="317"/>
                  <a:pt x="243" y="317"/>
                  <a:pt x="243" y="317"/>
                </a:cubicBezTo>
                <a:cubicBezTo>
                  <a:pt x="241" y="318"/>
                  <a:pt x="240" y="318"/>
                  <a:pt x="238" y="318"/>
                </a:cubicBezTo>
                <a:lnTo>
                  <a:pt x="238" y="337"/>
                </a:lnTo>
                <a:close/>
                <a:moveTo>
                  <a:pt x="238" y="388"/>
                </a:moveTo>
                <a:cubicBezTo>
                  <a:pt x="238" y="370"/>
                  <a:pt x="238" y="370"/>
                  <a:pt x="238" y="370"/>
                </a:cubicBezTo>
                <a:cubicBezTo>
                  <a:pt x="282" y="366"/>
                  <a:pt x="320" y="342"/>
                  <a:pt x="344" y="308"/>
                </a:cubicBezTo>
                <a:cubicBezTo>
                  <a:pt x="360" y="317"/>
                  <a:pt x="360" y="317"/>
                  <a:pt x="360" y="317"/>
                </a:cubicBezTo>
                <a:cubicBezTo>
                  <a:pt x="333" y="357"/>
                  <a:pt x="288" y="384"/>
                  <a:pt x="238" y="388"/>
                </a:cubicBezTo>
                <a:close/>
                <a:moveTo>
                  <a:pt x="374" y="293"/>
                </a:moveTo>
                <a:cubicBezTo>
                  <a:pt x="359" y="284"/>
                  <a:pt x="359" y="284"/>
                  <a:pt x="359" y="284"/>
                </a:cubicBezTo>
                <a:cubicBezTo>
                  <a:pt x="367" y="265"/>
                  <a:pt x="372" y="244"/>
                  <a:pt x="372" y="222"/>
                </a:cubicBezTo>
                <a:cubicBezTo>
                  <a:pt x="372" y="200"/>
                  <a:pt x="367" y="179"/>
                  <a:pt x="359" y="161"/>
                </a:cubicBezTo>
                <a:cubicBezTo>
                  <a:pt x="374" y="152"/>
                  <a:pt x="374" y="152"/>
                  <a:pt x="374" y="152"/>
                </a:cubicBezTo>
                <a:cubicBezTo>
                  <a:pt x="384" y="173"/>
                  <a:pt x="390" y="197"/>
                  <a:pt x="390" y="222"/>
                </a:cubicBezTo>
                <a:cubicBezTo>
                  <a:pt x="390" y="247"/>
                  <a:pt x="384" y="271"/>
                  <a:pt x="374" y="293"/>
                </a:cubicBezTo>
                <a:close/>
              </a:path>
            </a:pathLst>
          </a:custGeom>
          <a:solidFill>
            <a:srgbClr val="75787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413031" y="4129434"/>
            <a:ext cx="885668" cy="880851"/>
            <a:chOff x="6413031" y="4129434"/>
            <a:chExt cx="885668" cy="880851"/>
          </a:xfrm>
          <a:solidFill>
            <a:srgbClr val="046A38"/>
          </a:solidFill>
        </p:grpSpPr>
        <p:sp>
          <p:nvSpPr>
            <p:cNvPr id="46" name="Freeform 25"/>
            <p:cNvSpPr>
              <a:spLocks noEditPoints="1"/>
            </p:cNvSpPr>
            <p:nvPr/>
          </p:nvSpPr>
          <p:spPr bwMode="auto">
            <a:xfrm>
              <a:off x="6639437" y="4352399"/>
              <a:ext cx="432855" cy="432856"/>
            </a:xfrm>
            <a:custGeom>
              <a:avLst/>
              <a:gdLst>
                <a:gd name="T0" fmla="*/ 133 w 266"/>
                <a:gd name="T1" fmla="*/ 0 h 266"/>
                <a:gd name="T2" fmla="*/ 0 w 266"/>
                <a:gd name="T3" fmla="*/ 133 h 266"/>
                <a:gd name="T4" fmla="*/ 133 w 266"/>
                <a:gd name="T5" fmla="*/ 266 h 266"/>
                <a:gd name="T6" fmla="*/ 266 w 266"/>
                <a:gd name="T7" fmla="*/ 133 h 266"/>
                <a:gd name="T8" fmla="*/ 133 w 266"/>
                <a:gd name="T9" fmla="*/ 0 h 266"/>
                <a:gd name="T10" fmla="*/ 133 w 266"/>
                <a:gd name="T11" fmla="*/ 219 h 266"/>
                <a:gd name="T12" fmla="*/ 47 w 266"/>
                <a:gd name="T13" fmla="*/ 133 h 266"/>
                <a:gd name="T14" fmla="*/ 133 w 266"/>
                <a:gd name="T15" fmla="*/ 47 h 266"/>
                <a:gd name="T16" fmla="*/ 219 w 266"/>
                <a:gd name="T17" fmla="*/ 133 h 266"/>
                <a:gd name="T18" fmla="*/ 133 w 266"/>
                <a:gd name="T19" fmla="*/ 21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133" y="0"/>
                  </a:moveTo>
                  <a:cubicBezTo>
                    <a:pt x="60" y="0"/>
                    <a:pt x="0" y="60"/>
                    <a:pt x="0" y="133"/>
                  </a:cubicBezTo>
                  <a:cubicBezTo>
                    <a:pt x="0" y="207"/>
                    <a:pt x="60" y="266"/>
                    <a:pt x="133" y="266"/>
                  </a:cubicBezTo>
                  <a:cubicBezTo>
                    <a:pt x="206" y="266"/>
                    <a:pt x="266" y="207"/>
                    <a:pt x="266" y="133"/>
                  </a:cubicBezTo>
                  <a:cubicBezTo>
                    <a:pt x="266" y="60"/>
                    <a:pt x="206" y="0"/>
                    <a:pt x="133" y="0"/>
                  </a:cubicBezTo>
                  <a:close/>
                  <a:moveTo>
                    <a:pt x="133" y="219"/>
                  </a:moveTo>
                  <a:cubicBezTo>
                    <a:pt x="85" y="219"/>
                    <a:pt x="47" y="181"/>
                    <a:pt x="47" y="133"/>
                  </a:cubicBezTo>
                  <a:cubicBezTo>
                    <a:pt x="47" y="86"/>
                    <a:pt x="85" y="47"/>
                    <a:pt x="133" y="47"/>
                  </a:cubicBezTo>
                  <a:cubicBezTo>
                    <a:pt x="181" y="47"/>
                    <a:pt x="219" y="86"/>
                    <a:pt x="219" y="133"/>
                  </a:cubicBezTo>
                  <a:cubicBezTo>
                    <a:pt x="219" y="181"/>
                    <a:pt x="181" y="219"/>
                    <a:pt x="133" y="2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7" name="Freeform 26"/>
            <p:cNvSpPr>
              <a:spLocks noEditPoints="1"/>
            </p:cNvSpPr>
            <p:nvPr/>
          </p:nvSpPr>
          <p:spPr bwMode="auto">
            <a:xfrm>
              <a:off x="6758489" y="4471452"/>
              <a:ext cx="196815" cy="196815"/>
            </a:xfrm>
            <a:custGeom>
              <a:avLst/>
              <a:gdLst>
                <a:gd name="T0" fmla="*/ 60 w 121"/>
                <a:gd name="T1" fmla="*/ 0 h 121"/>
                <a:gd name="T2" fmla="*/ 0 w 121"/>
                <a:gd name="T3" fmla="*/ 60 h 121"/>
                <a:gd name="T4" fmla="*/ 60 w 121"/>
                <a:gd name="T5" fmla="*/ 121 h 121"/>
                <a:gd name="T6" fmla="*/ 121 w 121"/>
                <a:gd name="T7" fmla="*/ 60 h 121"/>
                <a:gd name="T8" fmla="*/ 60 w 121"/>
                <a:gd name="T9" fmla="*/ 0 h 121"/>
                <a:gd name="T10" fmla="*/ 60 w 121"/>
                <a:gd name="T11" fmla="*/ 100 h 121"/>
                <a:gd name="T12" fmla="*/ 21 w 121"/>
                <a:gd name="T13" fmla="*/ 60 h 121"/>
                <a:gd name="T14" fmla="*/ 60 w 121"/>
                <a:gd name="T15" fmla="*/ 21 h 121"/>
                <a:gd name="T16" fmla="*/ 99 w 121"/>
                <a:gd name="T17" fmla="*/ 60 h 121"/>
                <a:gd name="T18" fmla="*/ 60 w 121"/>
                <a:gd name="T19" fmla="*/ 10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1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4"/>
                    <a:pt x="27" y="121"/>
                    <a:pt x="60" y="121"/>
                  </a:cubicBezTo>
                  <a:cubicBezTo>
                    <a:pt x="93" y="121"/>
                    <a:pt x="121" y="94"/>
                    <a:pt x="121" y="60"/>
                  </a:cubicBezTo>
                  <a:cubicBezTo>
                    <a:pt x="121" y="27"/>
                    <a:pt x="93" y="0"/>
                    <a:pt x="60" y="0"/>
                  </a:cubicBezTo>
                  <a:close/>
                  <a:moveTo>
                    <a:pt x="60" y="100"/>
                  </a:moveTo>
                  <a:cubicBezTo>
                    <a:pt x="38" y="100"/>
                    <a:pt x="21" y="82"/>
                    <a:pt x="21" y="60"/>
                  </a:cubicBezTo>
                  <a:cubicBezTo>
                    <a:pt x="21" y="39"/>
                    <a:pt x="38" y="21"/>
                    <a:pt x="60" y="21"/>
                  </a:cubicBezTo>
                  <a:cubicBezTo>
                    <a:pt x="82" y="21"/>
                    <a:pt x="99" y="39"/>
                    <a:pt x="99" y="60"/>
                  </a:cubicBezTo>
                  <a:cubicBezTo>
                    <a:pt x="99" y="82"/>
                    <a:pt x="82" y="100"/>
                    <a:pt x="60" y="1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8" name="Freeform 27"/>
            <p:cNvSpPr>
              <a:spLocks noEditPoints="1"/>
            </p:cNvSpPr>
            <p:nvPr/>
          </p:nvSpPr>
          <p:spPr bwMode="auto">
            <a:xfrm>
              <a:off x="6413031" y="4129434"/>
              <a:ext cx="885668" cy="880851"/>
            </a:xfrm>
            <a:custGeom>
              <a:avLst/>
              <a:gdLst>
                <a:gd name="T0" fmla="*/ 544 w 544"/>
                <a:gd name="T1" fmla="*/ 256 h 541"/>
                <a:gd name="T2" fmla="*/ 485 w 544"/>
                <a:gd name="T3" fmla="*/ 185 h 541"/>
                <a:gd name="T4" fmla="*/ 452 w 544"/>
                <a:gd name="T5" fmla="*/ 128 h 541"/>
                <a:gd name="T6" fmla="*/ 421 w 544"/>
                <a:gd name="T7" fmla="*/ 42 h 541"/>
                <a:gd name="T8" fmla="*/ 396 w 544"/>
                <a:gd name="T9" fmla="*/ 27 h 541"/>
                <a:gd name="T10" fmla="*/ 305 w 544"/>
                <a:gd name="T11" fmla="*/ 43 h 541"/>
                <a:gd name="T12" fmla="*/ 239 w 544"/>
                <a:gd name="T13" fmla="*/ 43 h 541"/>
                <a:gd name="T14" fmla="*/ 148 w 544"/>
                <a:gd name="T15" fmla="*/ 27 h 541"/>
                <a:gd name="T16" fmla="*/ 123 w 544"/>
                <a:gd name="T17" fmla="*/ 42 h 541"/>
                <a:gd name="T18" fmla="*/ 92 w 544"/>
                <a:gd name="T19" fmla="*/ 128 h 541"/>
                <a:gd name="T20" fmla="*/ 59 w 544"/>
                <a:gd name="T21" fmla="*/ 185 h 541"/>
                <a:gd name="T22" fmla="*/ 0 w 544"/>
                <a:gd name="T23" fmla="*/ 256 h 541"/>
                <a:gd name="T24" fmla="*/ 43 w 544"/>
                <a:gd name="T25" fmla="*/ 277 h 541"/>
                <a:gd name="T26" fmla="*/ 54 w 544"/>
                <a:gd name="T27" fmla="*/ 342 h 541"/>
                <a:gd name="T28" fmla="*/ 54 w 544"/>
                <a:gd name="T29" fmla="*/ 434 h 541"/>
                <a:gd name="T30" fmla="*/ 73 w 544"/>
                <a:gd name="T31" fmla="*/ 456 h 541"/>
                <a:gd name="T32" fmla="*/ 163 w 544"/>
                <a:gd name="T33" fmla="*/ 472 h 541"/>
                <a:gd name="T34" fmla="*/ 226 w 544"/>
                <a:gd name="T35" fmla="*/ 495 h 541"/>
                <a:gd name="T36" fmla="*/ 305 w 544"/>
                <a:gd name="T37" fmla="*/ 541 h 541"/>
                <a:gd name="T38" fmla="*/ 334 w 544"/>
                <a:gd name="T39" fmla="*/ 536 h 541"/>
                <a:gd name="T40" fmla="*/ 393 w 544"/>
                <a:gd name="T41" fmla="*/ 465 h 541"/>
                <a:gd name="T42" fmla="*/ 443 w 544"/>
                <a:gd name="T43" fmla="*/ 423 h 541"/>
                <a:gd name="T44" fmla="*/ 523 w 544"/>
                <a:gd name="T45" fmla="*/ 377 h 541"/>
                <a:gd name="T46" fmla="*/ 533 w 544"/>
                <a:gd name="T47" fmla="*/ 350 h 541"/>
                <a:gd name="T48" fmla="*/ 501 w 544"/>
                <a:gd name="T49" fmla="*/ 270 h 541"/>
                <a:gd name="T50" fmla="*/ 466 w 544"/>
                <a:gd name="T51" fmla="*/ 281 h 541"/>
                <a:gd name="T52" fmla="*/ 424 w 544"/>
                <a:gd name="T53" fmla="*/ 331 h 541"/>
                <a:gd name="T54" fmla="*/ 400 w 544"/>
                <a:gd name="T55" fmla="*/ 371 h 541"/>
                <a:gd name="T56" fmla="*/ 378 w 544"/>
                <a:gd name="T57" fmla="*/ 433 h 541"/>
                <a:gd name="T58" fmla="*/ 360 w 544"/>
                <a:gd name="T59" fmla="*/ 443 h 541"/>
                <a:gd name="T60" fmla="*/ 296 w 544"/>
                <a:gd name="T61" fmla="*/ 432 h 541"/>
                <a:gd name="T62" fmla="*/ 249 w 544"/>
                <a:gd name="T63" fmla="*/ 432 h 541"/>
                <a:gd name="T64" fmla="*/ 184 w 544"/>
                <a:gd name="T65" fmla="*/ 443 h 541"/>
                <a:gd name="T66" fmla="*/ 166 w 544"/>
                <a:gd name="T67" fmla="*/ 433 h 541"/>
                <a:gd name="T68" fmla="*/ 144 w 544"/>
                <a:gd name="T69" fmla="*/ 371 h 541"/>
                <a:gd name="T70" fmla="*/ 120 w 544"/>
                <a:gd name="T71" fmla="*/ 331 h 541"/>
                <a:gd name="T72" fmla="*/ 78 w 544"/>
                <a:gd name="T73" fmla="*/ 281 h 541"/>
                <a:gd name="T74" fmla="*/ 109 w 544"/>
                <a:gd name="T75" fmla="*/ 265 h 541"/>
                <a:gd name="T76" fmla="*/ 117 w 544"/>
                <a:gd name="T77" fmla="*/ 219 h 541"/>
                <a:gd name="T78" fmla="*/ 117 w 544"/>
                <a:gd name="T79" fmla="*/ 154 h 541"/>
                <a:gd name="T80" fmla="*/ 130 w 544"/>
                <a:gd name="T81" fmla="*/ 138 h 541"/>
                <a:gd name="T82" fmla="*/ 195 w 544"/>
                <a:gd name="T83" fmla="*/ 127 h 541"/>
                <a:gd name="T84" fmla="*/ 239 w 544"/>
                <a:gd name="T85" fmla="*/ 110 h 541"/>
                <a:gd name="T86" fmla="*/ 296 w 544"/>
                <a:gd name="T87" fmla="*/ 78 h 541"/>
                <a:gd name="T88" fmla="*/ 316 w 544"/>
                <a:gd name="T89" fmla="*/ 81 h 541"/>
                <a:gd name="T90" fmla="*/ 358 w 544"/>
                <a:gd name="T91" fmla="*/ 131 h 541"/>
                <a:gd name="T92" fmla="*/ 394 w 544"/>
                <a:gd name="T93" fmla="*/ 162 h 541"/>
                <a:gd name="T94" fmla="*/ 451 w 544"/>
                <a:gd name="T95" fmla="*/ 194 h 541"/>
                <a:gd name="T96" fmla="*/ 458 w 544"/>
                <a:gd name="T97" fmla="*/ 214 h 541"/>
                <a:gd name="T98" fmla="*/ 435 w 544"/>
                <a:gd name="T99" fmla="*/ 27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4" h="541">
                  <a:moveTo>
                    <a:pt x="501" y="270"/>
                  </a:moveTo>
                  <a:cubicBezTo>
                    <a:pt x="501" y="268"/>
                    <a:pt x="501" y="266"/>
                    <a:pt x="501" y="263"/>
                  </a:cubicBezTo>
                  <a:cubicBezTo>
                    <a:pt x="544" y="256"/>
                    <a:pt x="544" y="256"/>
                    <a:pt x="544" y="256"/>
                  </a:cubicBezTo>
                  <a:cubicBezTo>
                    <a:pt x="533" y="191"/>
                    <a:pt x="533" y="191"/>
                    <a:pt x="533" y="191"/>
                  </a:cubicBezTo>
                  <a:cubicBezTo>
                    <a:pt x="490" y="198"/>
                    <a:pt x="490" y="198"/>
                    <a:pt x="490" y="198"/>
                  </a:cubicBezTo>
                  <a:cubicBezTo>
                    <a:pt x="488" y="194"/>
                    <a:pt x="487" y="190"/>
                    <a:pt x="485" y="185"/>
                  </a:cubicBezTo>
                  <a:cubicBezTo>
                    <a:pt x="523" y="164"/>
                    <a:pt x="523" y="164"/>
                    <a:pt x="523" y="164"/>
                  </a:cubicBezTo>
                  <a:cubicBezTo>
                    <a:pt x="490" y="106"/>
                    <a:pt x="490" y="106"/>
                    <a:pt x="490" y="106"/>
                  </a:cubicBezTo>
                  <a:cubicBezTo>
                    <a:pt x="452" y="128"/>
                    <a:pt x="452" y="128"/>
                    <a:pt x="452" y="128"/>
                  </a:cubicBezTo>
                  <a:cubicBezTo>
                    <a:pt x="449" y="125"/>
                    <a:pt x="446" y="121"/>
                    <a:pt x="443" y="118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21" y="42"/>
                    <a:pt x="421" y="42"/>
                    <a:pt x="421" y="42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89" y="73"/>
                    <a:pt x="385" y="71"/>
                    <a:pt x="381" y="68"/>
                  </a:cubicBezTo>
                  <a:cubicBezTo>
                    <a:pt x="396" y="27"/>
                    <a:pt x="396" y="27"/>
                    <a:pt x="396" y="27"/>
                  </a:cubicBezTo>
                  <a:cubicBezTo>
                    <a:pt x="334" y="5"/>
                    <a:pt x="334" y="5"/>
                    <a:pt x="334" y="5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14" y="45"/>
                    <a:pt x="310" y="44"/>
                    <a:pt x="305" y="43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34" y="44"/>
                    <a:pt x="230" y="45"/>
                    <a:pt x="226" y="46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148" y="27"/>
                    <a:pt x="148" y="27"/>
                    <a:pt x="148" y="27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59" y="71"/>
                    <a:pt x="155" y="73"/>
                    <a:pt x="152" y="75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101" y="118"/>
                    <a:pt x="101" y="118"/>
                    <a:pt x="101" y="118"/>
                  </a:cubicBezTo>
                  <a:cubicBezTo>
                    <a:pt x="98" y="121"/>
                    <a:pt x="95" y="125"/>
                    <a:pt x="92" y="128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21" y="164"/>
                    <a:pt x="21" y="164"/>
                    <a:pt x="21" y="164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7" y="190"/>
                    <a:pt x="56" y="194"/>
                    <a:pt x="54" y="198"/>
                  </a:cubicBezTo>
                  <a:cubicBezTo>
                    <a:pt x="11" y="191"/>
                    <a:pt x="11" y="191"/>
                    <a:pt x="11" y="19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6"/>
                    <a:pt x="43" y="268"/>
                    <a:pt x="43" y="270"/>
                  </a:cubicBezTo>
                  <a:cubicBezTo>
                    <a:pt x="43" y="273"/>
                    <a:pt x="43" y="275"/>
                    <a:pt x="43" y="277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11" y="350"/>
                    <a:pt x="11" y="350"/>
                    <a:pt x="11" y="350"/>
                  </a:cubicBezTo>
                  <a:cubicBezTo>
                    <a:pt x="54" y="342"/>
                    <a:pt x="54" y="342"/>
                    <a:pt x="54" y="342"/>
                  </a:cubicBezTo>
                  <a:cubicBezTo>
                    <a:pt x="56" y="347"/>
                    <a:pt x="57" y="351"/>
                    <a:pt x="59" y="355"/>
                  </a:cubicBezTo>
                  <a:cubicBezTo>
                    <a:pt x="21" y="377"/>
                    <a:pt x="21" y="377"/>
                    <a:pt x="21" y="377"/>
                  </a:cubicBezTo>
                  <a:cubicBezTo>
                    <a:pt x="54" y="434"/>
                    <a:pt x="54" y="434"/>
                    <a:pt x="54" y="434"/>
                  </a:cubicBezTo>
                  <a:cubicBezTo>
                    <a:pt x="92" y="412"/>
                    <a:pt x="92" y="412"/>
                    <a:pt x="92" y="412"/>
                  </a:cubicBezTo>
                  <a:cubicBezTo>
                    <a:pt x="95" y="416"/>
                    <a:pt x="98" y="419"/>
                    <a:pt x="101" y="423"/>
                  </a:cubicBezTo>
                  <a:cubicBezTo>
                    <a:pt x="73" y="456"/>
                    <a:pt x="73" y="456"/>
                    <a:pt x="73" y="456"/>
                  </a:cubicBezTo>
                  <a:cubicBezTo>
                    <a:pt x="123" y="499"/>
                    <a:pt x="123" y="499"/>
                    <a:pt x="123" y="499"/>
                  </a:cubicBezTo>
                  <a:cubicBezTo>
                    <a:pt x="152" y="465"/>
                    <a:pt x="152" y="465"/>
                    <a:pt x="152" y="465"/>
                  </a:cubicBezTo>
                  <a:cubicBezTo>
                    <a:pt x="155" y="468"/>
                    <a:pt x="159" y="470"/>
                    <a:pt x="163" y="472"/>
                  </a:cubicBezTo>
                  <a:cubicBezTo>
                    <a:pt x="148" y="513"/>
                    <a:pt x="148" y="513"/>
                    <a:pt x="148" y="513"/>
                  </a:cubicBezTo>
                  <a:cubicBezTo>
                    <a:pt x="211" y="536"/>
                    <a:pt x="211" y="536"/>
                    <a:pt x="211" y="536"/>
                  </a:cubicBezTo>
                  <a:cubicBezTo>
                    <a:pt x="226" y="495"/>
                    <a:pt x="226" y="495"/>
                    <a:pt x="226" y="495"/>
                  </a:cubicBezTo>
                  <a:cubicBezTo>
                    <a:pt x="230" y="496"/>
                    <a:pt x="234" y="496"/>
                    <a:pt x="239" y="497"/>
                  </a:cubicBezTo>
                  <a:cubicBezTo>
                    <a:pt x="239" y="541"/>
                    <a:pt x="239" y="541"/>
                    <a:pt x="239" y="541"/>
                  </a:cubicBezTo>
                  <a:cubicBezTo>
                    <a:pt x="305" y="541"/>
                    <a:pt x="305" y="541"/>
                    <a:pt x="305" y="541"/>
                  </a:cubicBezTo>
                  <a:cubicBezTo>
                    <a:pt x="305" y="497"/>
                    <a:pt x="305" y="497"/>
                    <a:pt x="305" y="497"/>
                  </a:cubicBezTo>
                  <a:cubicBezTo>
                    <a:pt x="310" y="496"/>
                    <a:pt x="314" y="496"/>
                    <a:pt x="319" y="495"/>
                  </a:cubicBezTo>
                  <a:cubicBezTo>
                    <a:pt x="334" y="536"/>
                    <a:pt x="334" y="536"/>
                    <a:pt x="334" y="536"/>
                  </a:cubicBezTo>
                  <a:cubicBezTo>
                    <a:pt x="396" y="513"/>
                    <a:pt x="396" y="513"/>
                    <a:pt x="396" y="513"/>
                  </a:cubicBezTo>
                  <a:cubicBezTo>
                    <a:pt x="381" y="472"/>
                    <a:pt x="381" y="472"/>
                    <a:pt x="381" y="472"/>
                  </a:cubicBezTo>
                  <a:cubicBezTo>
                    <a:pt x="385" y="470"/>
                    <a:pt x="389" y="468"/>
                    <a:pt x="393" y="465"/>
                  </a:cubicBezTo>
                  <a:cubicBezTo>
                    <a:pt x="421" y="499"/>
                    <a:pt x="421" y="499"/>
                    <a:pt x="421" y="499"/>
                  </a:cubicBezTo>
                  <a:cubicBezTo>
                    <a:pt x="471" y="456"/>
                    <a:pt x="471" y="456"/>
                    <a:pt x="471" y="456"/>
                  </a:cubicBezTo>
                  <a:cubicBezTo>
                    <a:pt x="443" y="423"/>
                    <a:pt x="443" y="423"/>
                    <a:pt x="443" y="423"/>
                  </a:cubicBezTo>
                  <a:cubicBezTo>
                    <a:pt x="446" y="419"/>
                    <a:pt x="449" y="416"/>
                    <a:pt x="452" y="412"/>
                  </a:cubicBezTo>
                  <a:cubicBezTo>
                    <a:pt x="490" y="434"/>
                    <a:pt x="490" y="434"/>
                    <a:pt x="490" y="434"/>
                  </a:cubicBezTo>
                  <a:cubicBezTo>
                    <a:pt x="523" y="377"/>
                    <a:pt x="523" y="377"/>
                    <a:pt x="523" y="377"/>
                  </a:cubicBezTo>
                  <a:cubicBezTo>
                    <a:pt x="485" y="355"/>
                    <a:pt x="485" y="355"/>
                    <a:pt x="485" y="355"/>
                  </a:cubicBezTo>
                  <a:cubicBezTo>
                    <a:pt x="487" y="351"/>
                    <a:pt x="488" y="347"/>
                    <a:pt x="490" y="342"/>
                  </a:cubicBezTo>
                  <a:cubicBezTo>
                    <a:pt x="533" y="350"/>
                    <a:pt x="533" y="350"/>
                    <a:pt x="533" y="350"/>
                  </a:cubicBezTo>
                  <a:cubicBezTo>
                    <a:pt x="544" y="285"/>
                    <a:pt x="544" y="285"/>
                    <a:pt x="544" y="285"/>
                  </a:cubicBezTo>
                  <a:cubicBezTo>
                    <a:pt x="501" y="277"/>
                    <a:pt x="501" y="277"/>
                    <a:pt x="501" y="277"/>
                  </a:cubicBezTo>
                  <a:cubicBezTo>
                    <a:pt x="501" y="275"/>
                    <a:pt x="501" y="273"/>
                    <a:pt x="501" y="270"/>
                  </a:cubicBezTo>
                  <a:close/>
                  <a:moveTo>
                    <a:pt x="435" y="270"/>
                  </a:moveTo>
                  <a:cubicBezTo>
                    <a:pt x="435" y="272"/>
                    <a:pt x="435" y="274"/>
                    <a:pt x="435" y="275"/>
                  </a:cubicBezTo>
                  <a:cubicBezTo>
                    <a:pt x="466" y="281"/>
                    <a:pt x="466" y="281"/>
                    <a:pt x="466" y="281"/>
                  </a:cubicBezTo>
                  <a:cubicBezTo>
                    <a:pt x="458" y="327"/>
                    <a:pt x="458" y="327"/>
                    <a:pt x="458" y="327"/>
                  </a:cubicBezTo>
                  <a:cubicBezTo>
                    <a:pt x="427" y="321"/>
                    <a:pt x="427" y="321"/>
                    <a:pt x="427" y="321"/>
                  </a:cubicBezTo>
                  <a:cubicBezTo>
                    <a:pt x="426" y="325"/>
                    <a:pt x="425" y="328"/>
                    <a:pt x="424" y="331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27" y="387"/>
                    <a:pt x="427" y="387"/>
                    <a:pt x="427" y="387"/>
                  </a:cubicBezTo>
                  <a:cubicBezTo>
                    <a:pt x="400" y="371"/>
                    <a:pt x="400" y="371"/>
                    <a:pt x="400" y="371"/>
                  </a:cubicBezTo>
                  <a:cubicBezTo>
                    <a:pt x="398" y="374"/>
                    <a:pt x="396" y="376"/>
                    <a:pt x="394" y="379"/>
                  </a:cubicBezTo>
                  <a:cubicBezTo>
                    <a:pt x="414" y="403"/>
                    <a:pt x="414" y="403"/>
                    <a:pt x="414" y="403"/>
                  </a:cubicBezTo>
                  <a:cubicBezTo>
                    <a:pt x="378" y="433"/>
                    <a:pt x="378" y="433"/>
                    <a:pt x="378" y="433"/>
                  </a:cubicBezTo>
                  <a:cubicBezTo>
                    <a:pt x="358" y="409"/>
                    <a:pt x="358" y="409"/>
                    <a:pt x="358" y="409"/>
                  </a:cubicBezTo>
                  <a:cubicBezTo>
                    <a:pt x="355" y="411"/>
                    <a:pt x="352" y="412"/>
                    <a:pt x="349" y="414"/>
                  </a:cubicBezTo>
                  <a:cubicBezTo>
                    <a:pt x="360" y="443"/>
                    <a:pt x="360" y="443"/>
                    <a:pt x="360" y="443"/>
                  </a:cubicBezTo>
                  <a:cubicBezTo>
                    <a:pt x="316" y="459"/>
                    <a:pt x="316" y="459"/>
                    <a:pt x="316" y="459"/>
                  </a:cubicBezTo>
                  <a:cubicBezTo>
                    <a:pt x="305" y="430"/>
                    <a:pt x="305" y="430"/>
                    <a:pt x="305" y="430"/>
                  </a:cubicBezTo>
                  <a:cubicBezTo>
                    <a:pt x="302" y="431"/>
                    <a:pt x="299" y="431"/>
                    <a:pt x="296" y="432"/>
                  </a:cubicBezTo>
                  <a:cubicBezTo>
                    <a:pt x="296" y="463"/>
                    <a:pt x="296" y="463"/>
                    <a:pt x="296" y="463"/>
                  </a:cubicBezTo>
                  <a:cubicBezTo>
                    <a:pt x="249" y="463"/>
                    <a:pt x="249" y="463"/>
                    <a:pt x="249" y="463"/>
                  </a:cubicBezTo>
                  <a:cubicBezTo>
                    <a:pt x="249" y="432"/>
                    <a:pt x="249" y="432"/>
                    <a:pt x="249" y="432"/>
                  </a:cubicBezTo>
                  <a:cubicBezTo>
                    <a:pt x="245" y="431"/>
                    <a:pt x="242" y="431"/>
                    <a:pt x="239" y="430"/>
                  </a:cubicBezTo>
                  <a:cubicBezTo>
                    <a:pt x="228" y="459"/>
                    <a:pt x="228" y="459"/>
                    <a:pt x="228" y="459"/>
                  </a:cubicBezTo>
                  <a:cubicBezTo>
                    <a:pt x="184" y="443"/>
                    <a:pt x="184" y="443"/>
                    <a:pt x="184" y="443"/>
                  </a:cubicBezTo>
                  <a:cubicBezTo>
                    <a:pt x="195" y="414"/>
                    <a:pt x="195" y="414"/>
                    <a:pt x="195" y="414"/>
                  </a:cubicBezTo>
                  <a:cubicBezTo>
                    <a:pt x="192" y="412"/>
                    <a:pt x="189" y="411"/>
                    <a:pt x="186" y="409"/>
                  </a:cubicBezTo>
                  <a:cubicBezTo>
                    <a:pt x="166" y="433"/>
                    <a:pt x="166" y="433"/>
                    <a:pt x="166" y="433"/>
                  </a:cubicBezTo>
                  <a:cubicBezTo>
                    <a:pt x="130" y="403"/>
                    <a:pt x="130" y="403"/>
                    <a:pt x="130" y="403"/>
                  </a:cubicBezTo>
                  <a:cubicBezTo>
                    <a:pt x="150" y="379"/>
                    <a:pt x="150" y="379"/>
                    <a:pt x="150" y="379"/>
                  </a:cubicBezTo>
                  <a:cubicBezTo>
                    <a:pt x="148" y="376"/>
                    <a:pt x="146" y="374"/>
                    <a:pt x="144" y="371"/>
                  </a:cubicBezTo>
                  <a:cubicBezTo>
                    <a:pt x="117" y="387"/>
                    <a:pt x="117" y="387"/>
                    <a:pt x="117" y="387"/>
                  </a:cubicBezTo>
                  <a:cubicBezTo>
                    <a:pt x="94" y="346"/>
                    <a:pt x="94" y="346"/>
                    <a:pt x="94" y="346"/>
                  </a:cubicBezTo>
                  <a:cubicBezTo>
                    <a:pt x="120" y="331"/>
                    <a:pt x="120" y="331"/>
                    <a:pt x="120" y="331"/>
                  </a:cubicBezTo>
                  <a:cubicBezTo>
                    <a:pt x="119" y="328"/>
                    <a:pt x="118" y="325"/>
                    <a:pt x="117" y="321"/>
                  </a:cubicBezTo>
                  <a:cubicBezTo>
                    <a:pt x="86" y="327"/>
                    <a:pt x="86" y="327"/>
                    <a:pt x="86" y="327"/>
                  </a:cubicBezTo>
                  <a:cubicBezTo>
                    <a:pt x="78" y="281"/>
                    <a:pt x="78" y="281"/>
                    <a:pt x="78" y="28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9" y="274"/>
                    <a:pt x="109" y="272"/>
                    <a:pt x="109" y="270"/>
                  </a:cubicBezTo>
                  <a:cubicBezTo>
                    <a:pt x="109" y="269"/>
                    <a:pt x="109" y="267"/>
                    <a:pt x="109" y="265"/>
                  </a:cubicBezTo>
                  <a:cubicBezTo>
                    <a:pt x="78" y="260"/>
                    <a:pt x="78" y="260"/>
                    <a:pt x="78" y="260"/>
                  </a:cubicBezTo>
                  <a:cubicBezTo>
                    <a:pt x="86" y="214"/>
                    <a:pt x="86" y="214"/>
                    <a:pt x="86" y="214"/>
                  </a:cubicBezTo>
                  <a:cubicBezTo>
                    <a:pt x="117" y="219"/>
                    <a:pt x="117" y="219"/>
                    <a:pt x="117" y="219"/>
                  </a:cubicBezTo>
                  <a:cubicBezTo>
                    <a:pt x="118" y="216"/>
                    <a:pt x="119" y="213"/>
                    <a:pt x="120" y="210"/>
                  </a:cubicBezTo>
                  <a:cubicBezTo>
                    <a:pt x="94" y="194"/>
                    <a:pt x="94" y="194"/>
                    <a:pt x="94" y="194"/>
                  </a:cubicBezTo>
                  <a:cubicBezTo>
                    <a:pt x="117" y="154"/>
                    <a:pt x="117" y="154"/>
                    <a:pt x="117" y="154"/>
                  </a:cubicBezTo>
                  <a:cubicBezTo>
                    <a:pt x="144" y="169"/>
                    <a:pt x="144" y="169"/>
                    <a:pt x="144" y="169"/>
                  </a:cubicBezTo>
                  <a:cubicBezTo>
                    <a:pt x="146" y="167"/>
                    <a:pt x="148" y="164"/>
                    <a:pt x="150" y="162"/>
                  </a:cubicBezTo>
                  <a:cubicBezTo>
                    <a:pt x="130" y="138"/>
                    <a:pt x="130" y="138"/>
                    <a:pt x="130" y="138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86" y="131"/>
                    <a:pt x="186" y="131"/>
                    <a:pt x="186" y="131"/>
                  </a:cubicBezTo>
                  <a:cubicBezTo>
                    <a:pt x="189" y="130"/>
                    <a:pt x="192" y="128"/>
                    <a:pt x="195" y="127"/>
                  </a:cubicBezTo>
                  <a:cubicBezTo>
                    <a:pt x="184" y="97"/>
                    <a:pt x="184" y="97"/>
                    <a:pt x="184" y="97"/>
                  </a:cubicBezTo>
                  <a:cubicBezTo>
                    <a:pt x="228" y="81"/>
                    <a:pt x="228" y="81"/>
                    <a:pt x="228" y="81"/>
                  </a:cubicBezTo>
                  <a:cubicBezTo>
                    <a:pt x="239" y="110"/>
                    <a:pt x="239" y="110"/>
                    <a:pt x="239" y="110"/>
                  </a:cubicBezTo>
                  <a:cubicBezTo>
                    <a:pt x="242" y="110"/>
                    <a:pt x="245" y="109"/>
                    <a:pt x="249" y="109"/>
                  </a:cubicBezTo>
                  <a:cubicBezTo>
                    <a:pt x="249" y="78"/>
                    <a:pt x="249" y="78"/>
                    <a:pt x="249" y="78"/>
                  </a:cubicBezTo>
                  <a:cubicBezTo>
                    <a:pt x="296" y="78"/>
                    <a:pt x="296" y="78"/>
                    <a:pt x="296" y="78"/>
                  </a:cubicBezTo>
                  <a:cubicBezTo>
                    <a:pt x="296" y="109"/>
                    <a:pt x="296" y="109"/>
                    <a:pt x="296" y="109"/>
                  </a:cubicBezTo>
                  <a:cubicBezTo>
                    <a:pt x="299" y="109"/>
                    <a:pt x="302" y="110"/>
                    <a:pt x="305" y="110"/>
                  </a:cubicBezTo>
                  <a:cubicBezTo>
                    <a:pt x="316" y="81"/>
                    <a:pt x="316" y="81"/>
                    <a:pt x="316" y="81"/>
                  </a:cubicBezTo>
                  <a:cubicBezTo>
                    <a:pt x="360" y="97"/>
                    <a:pt x="360" y="97"/>
                    <a:pt x="360" y="97"/>
                  </a:cubicBezTo>
                  <a:cubicBezTo>
                    <a:pt x="349" y="127"/>
                    <a:pt x="349" y="127"/>
                    <a:pt x="349" y="127"/>
                  </a:cubicBezTo>
                  <a:cubicBezTo>
                    <a:pt x="352" y="128"/>
                    <a:pt x="355" y="130"/>
                    <a:pt x="358" y="131"/>
                  </a:cubicBezTo>
                  <a:cubicBezTo>
                    <a:pt x="378" y="108"/>
                    <a:pt x="378" y="108"/>
                    <a:pt x="378" y="108"/>
                  </a:cubicBezTo>
                  <a:cubicBezTo>
                    <a:pt x="414" y="138"/>
                    <a:pt x="414" y="138"/>
                    <a:pt x="414" y="138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6" y="164"/>
                    <a:pt x="398" y="167"/>
                    <a:pt x="400" y="169"/>
                  </a:cubicBezTo>
                  <a:cubicBezTo>
                    <a:pt x="427" y="154"/>
                    <a:pt x="427" y="154"/>
                    <a:pt x="427" y="154"/>
                  </a:cubicBezTo>
                  <a:cubicBezTo>
                    <a:pt x="451" y="194"/>
                    <a:pt x="451" y="194"/>
                    <a:pt x="451" y="194"/>
                  </a:cubicBezTo>
                  <a:cubicBezTo>
                    <a:pt x="424" y="210"/>
                    <a:pt x="424" y="210"/>
                    <a:pt x="424" y="210"/>
                  </a:cubicBezTo>
                  <a:cubicBezTo>
                    <a:pt x="425" y="213"/>
                    <a:pt x="426" y="216"/>
                    <a:pt x="427" y="219"/>
                  </a:cubicBezTo>
                  <a:cubicBezTo>
                    <a:pt x="458" y="214"/>
                    <a:pt x="458" y="214"/>
                    <a:pt x="458" y="214"/>
                  </a:cubicBezTo>
                  <a:cubicBezTo>
                    <a:pt x="466" y="260"/>
                    <a:pt x="466" y="260"/>
                    <a:pt x="466" y="260"/>
                  </a:cubicBezTo>
                  <a:cubicBezTo>
                    <a:pt x="435" y="265"/>
                    <a:pt x="435" y="265"/>
                    <a:pt x="435" y="265"/>
                  </a:cubicBezTo>
                  <a:cubicBezTo>
                    <a:pt x="435" y="267"/>
                    <a:pt x="435" y="269"/>
                    <a:pt x="435" y="2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59" name="文本框 58"/>
          <p:cNvSpPr txBox="1"/>
          <p:nvPr/>
        </p:nvSpPr>
        <p:spPr>
          <a:xfrm>
            <a:off x="495300" y="1857920"/>
            <a:ext cx="1879225" cy="10772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ptimize a loss function across layers of no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ccuracy = 0.98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F1-score = 0.754</a:t>
            </a:r>
          </a:p>
        </p:txBody>
      </p:sp>
      <p:cxnSp>
        <p:nvCxnSpPr>
          <p:cNvPr id="60" name="肘形连接符 59"/>
          <p:cNvCxnSpPr/>
          <p:nvPr/>
        </p:nvCxnSpPr>
        <p:spPr>
          <a:xfrm rot="10800000">
            <a:off x="2387600" y="2165350"/>
            <a:ext cx="2307360" cy="648910"/>
          </a:xfrm>
          <a:prstGeom prst="bentConnector3">
            <a:avLst/>
          </a:prstGeom>
          <a:ln w="12700">
            <a:solidFill>
              <a:srgbClr val="0000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肘形连接符 61"/>
          <p:cNvCxnSpPr/>
          <p:nvPr/>
        </p:nvCxnSpPr>
        <p:spPr>
          <a:xfrm flipV="1">
            <a:off x="7298699" y="1700213"/>
            <a:ext cx="2505701" cy="313804"/>
          </a:xfrm>
          <a:prstGeom prst="bentConnector3">
            <a:avLst>
              <a:gd name="adj1" fmla="val 50000"/>
            </a:avLst>
          </a:prstGeom>
          <a:ln w="12700">
            <a:solidFill>
              <a:srgbClr val="0000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肘形连接符 63"/>
          <p:cNvCxnSpPr/>
          <p:nvPr/>
        </p:nvCxnSpPr>
        <p:spPr>
          <a:xfrm>
            <a:off x="7308333" y="4220960"/>
            <a:ext cx="2216667" cy="489285"/>
          </a:xfrm>
          <a:prstGeom prst="bentConnector3">
            <a:avLst>
              <a:gd name="adj1" fmla="val 50000"/>
            </a:avLst>
          </a:prstGeom>
          <a:ln w="12700">
            <a:solidFill>
              <a:srgbClr val="0000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318FBA9E-462E-CD53-2D5F-C9722D6BB109}"/>
              </a:ext>
            </a:extLst>
          </p:cNvPr>
          <p:cNvSpPr txBox="1">
            <a:spLocks/>
          </p:cNvSpPr>
          <p:nvPr/>
        </p:nvSpPr>
        <p:spPr>
          <a:xfrm>
            <a:off x="396234" y="393782"/>
            <a:ext cx="11188700" cy="334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altLang="ja-JP">
                <a:latin typeface="+mj-lt"/>
              </a:rPr>
              <a:t>Model Performance</a:t>
            </a:r>
            <a:endParaRPr lang="en-US">
              <a:latin typeface="+mj-lt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2B22B43-0FC6-A923-7159-F63DBE11D90B}"/>
              </a:ext>
            </a:extLst>
          </p:cNvPr>
          <p:cNvSpPr txBox="1">
            <a:spLocks/>
          </p:cNvSpPr>
          <p:nvPr/>
        </p:nvSpPr>
        <p:spPr>
          <a:xfrm>
            <a:off x="438766" y="1503847"/>
            <a:ext cx="2676990" cy="72257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1800" b="1"/>
              <a:t>Deep Neural Network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5BE946-D356-A4EE-509E-CD80FC2283A8}"/>
              </a:ext>
            </a:extLst>
          </p:cNvPr>
          <p:cNvSpPr txBox="1">
            <a:spLocks/>
          </p:cNvSpPr>
          <p:nvPr/>
        </p:nvSpPr>
        <p:spPr>
          <a:xfrm>
            <a:off x="9889472" y="1465955"/>
            <a:ext cx="1465027" cy="2777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1800" b="1"/>
              <a:t>Decision Tree</a:t>
            </a:r>
          </a:p>
        </p:txBody>
      </p:sp>
      <p:sp>
        <p:nvSpPr>
          <p:cNvPr id="7" name="文本框 58">
            <a:extLst>
              <a:ext uri="{FF2B5EF4-FFF2-40B4-BE49-F238E27FC236}">
                <a16:creationId xmlns:a16="http://schemas.microsoft.com/office/drawing/2014/main" id="{F62EB17C-82BC-F3CC-0A97-8C69D65318E1}"/>
              </a:ext>
            </a:extLst>
          </p:cNvPr>
          <p:cNvSpPr txBox="1"/>
          <p:nvPr/>
        </p:nvSpPr>
        <p:spPr>
          <a:xfrm>
            <a:off x="9943947" y="1826021"/>
            <a:ext cx="1631951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plit data to minimize entrop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ccuracy = 0.98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F1-score = 0.803</a:t>
            </a:r>
          </a:p>
        </p:txBody>
      </p:sp>
      <p:sp>
        <p:nvSpPr>
          <p:cNvPr id="8" name="文本框 58">
            <a:extLst>
              <a:ext uri="{FF2B5EF4-FFF2-40B4-BE49-F238E27FC236}">
                <a16:creationId xmlns:a16="http://schemas.microsoft.com/office/drawing/2014/main" id="{C566B754-2B37-C70C-6711-C0A8BA343C30}"/>
              </a:ext>
            </a:extLst>
          </p:cNvPr>
          <p:cNvSpPr txBox="1"/>
          <p:nvPr/>
        </p:nvSpPr>
        <p:spPr>
          <a:xfrm>
            <a:off x="9942629" y="4428785"/>
            <a:ext cx="2216667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mbine votes from decision tr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ccuracy = 0.99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F1-score = 0.912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88B212E-A57D-2E6F-D5D4-1BF7209EAC36}"/>
              </a:ext>
            </a:extLst>
          </p:cNvPr>
          <p:cNvSpPr txBox="1">
            <a:spLocks/>
          </p:cNvSpPr>
          <p:nvPr/>
        </p:nvSpPr>
        <p:spPr>
          <a:xfrm>
            <a:off x="9889013" y="4069826"/>
            <a:ext cx="1870595" cy="88085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altLang="ja-JP" sz="1800" b="1"/>
              <a:t>Random Forest</a:t>
            </a:r>
            <a:endParaRPr lang="en-US" sz="1800" b="1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28124E-124D-26AD-9E98-AED6DDAE87DE}"/>
              </a:ext>
            </a:extLst>
          </p:cNvPr>
          <p:cNvSpPr txBox="1">
            <a:spLocks/>
          </p:cNvSpPr>
          <p:nvPr/>
        </p:nvSpPr>
        <p:spPr>
          <a:xfrm>
            <a:off x="396234" y="674450"/>
            <a:ext cx="11188700" cy="7572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575757"/>
                </a:solidFill>
              </a:rPr>
              <a:t>Functions and corresponding evaluations for accuracy</a:t>
            </a:r>
          </a:p>
        </p:txBody>
      </p:sp>
    </p:spTree>
    <p:extLst>
      <p:ext uri="{BB962C8B-B14F-4D97-AF65-F5344CB8AC3E}">
        <p14:creationId xmlns:p14="http://schemas.microsoft.com/office/powerpoint/2010/main" val="39472739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Pentagon 38"/>
          <p:cNvSpPr/>
          <p:nvPr/>
        </p:nvSpPr>
        <p:spPr>
          <a:xfrm flipH="1">
            <a:off x="735540" y="2375318"/>
            <a:ext cx="2366433" cy="1018645"/>
          </a:xfrm>
          <a:prstGeom prst="homePlate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Pentagon 39"/>
          <p:cNvSpPr/>
          <p:nvPr/>
        </p:nvSpPr>
        <p:spPr>
          <a:xfrm flipH="1">
            <a:off x="735540" y="3393963"/>
            <a:ext cx="2366433" cy="1018645"/>
          </a:xfrm>
          <a:prstGeom prst="homePlat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Pentagon 40"/>
          <p:cNvSpPr/>
          <p:nvPr/>
        </p:nvSpPr>
        <p:spPr>
          <a:xfrm flipH="1">
            <a:off x="735540" y="4412608"/>
            <a:ext cx="2366433" cy="1018645"/>
          </a:xfrm>
          <a:prstGeom prst="homePlat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8"/>
          <p:cNvSpPr/>
          <p:nvPr/>
        </p:nvSpPr>
        <p:spPr>
          <a:xfrm>
            <a:off x="3101974" y="3228862"/>
            <a:ext cx="660400" cy="1352020"/>
          </a:xfrm>
          <a:custGeom>
            <a:avLst/>
            <a:gdLst>
              <a:gd name="connsiteX0" fmla="*/ 0 w 1696507"/>
              <a:gd name="connsiteY0" fmla="*/ 0 h 1018645"/>
              <a:gd name="connsiteX1" fmla="*/ 1696507 w 1696507"/>
              <a:gd name="connsiteY1" fmla="*/ 0 h 1018645"/>
              <a:gd name="connsiteX2" fmla="*/ 1696507 w 1696507"/>
              <a:gd name="connsiteY2" fmla="*/ 1018645 h 1018645"/>
              <a:gd name="connsiteX3" fmla="*/ 0 w 1696507"/>
              <a:gd name="connsiteY3" fmla="*/ 1018645 h 1018645"/>
              <a:gd name="connsiteX4" fmla="*/ 0 w 1696507"/>
              <a:gd name="connsiteY4" fmla="*/ 0 h 1018645"/>
              <a:gd name="connsiteX0" fmla="*/ 0 w 1696507"/>
              <a:gd name="connsiteY0" fmla="*/ 165100 h 1183745"/>
              <a:gd name="connsiteX1" fmla="*/ 1696507 w 1696507"/>
              <a:gd name="connsiteY1" fmla="*/ 0 h 1183745"/>
              <a:gd name="connsiteX2" fmla="*/ 1696507 w 1696507"/>
              <a:gd name="connsiteY2" fmla="*/ 1183745 h 1183745"/>
              <a:gd name="connsiteX3" fmla="*/ 0 w 1696507"/>
              <a:gd name="connsiteY3" fmla="*/ 1183745 h 1183745"/>
              <a:gd name="connsiteX4" fmla="*/ 0 w 1696507"/>
              <a:gd name="connsiteY4" fmla="*/ 165100 h 1183745"/>
              <a:gd name="connsiteX0" fmla="*/ 0 w 1696507"/>
              <a:gd name="connsiteY0" fmla="*/ 165100 h 1352020"/>
              <a:gd name="connsiteX1" fmla="*/ 1696507 w 1696507"/>
              <a:gd name="connsiteY1" fmla="*/ 0 h 1352020"/>
              <a:gd name="connsiteX2" fmla="*/ 1696507 w 1696507"/>
              <a:gd name="connsiteY2" fmla="*/ 1352020 h 1352020"/>
              <a:gd name="connsiteX3" fmla="*/ 0 w 1696507"/>
              <a:gd name="connsiteY3" fmla="*/ 1183745 h 1352020"/>
              <a:gd name="connsiteX4" fmla="*/ 0 w 1696507"/>
              <a:gd name="connsiteY4" fmla="*/ 165100 h 135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6507" h="1352020">
                <a:moveTo>
                  <a:pt x="0" y="165100"/>
                </a:moveTo>
                <a:lnTo>
                  <a:pt x="1696507" y="0"/>
                </a:lnTo>
                <a:lnTo>
                  <a:pt x="1696507" y="1352020"/>
                </a:lnTo>
                <a:lnTo>
                  <a:pt x="0" y="1183745"/>
                </a:lnTo>
                <a:lnTo>
                  <a:pt x="0" y="16510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9"/>
          <p:cNvSpPr/>
          <p:nvPr/>
        </p:nvSpPr>
        <p:spPr>
          <a:xfrm>
            <a:off x="3101974" y="1883192"/>
            <a:ext cx="660400" cy="1510770"/>
          </a:xfrm>
          <a:custGeom>
            <a:avLst/>
            <a:gdLst>
              <a:gd name="connsiteX0" fmla="*/ 0 w 1696507"/>
              <a:gd name="connsiteY0" fmla="*/ 0 h 1018645"/>
              <a:gd name="connsiteX1" fmla="*/ 1696507 w 1696507"/>
              <a:gd name="connsiteY1" fmla="*/ 0 h 1018645"/>
              <a:gd name="connsiteX2" fmla="*/ 1696507 w 1696507"/>
              <a:gd name="connsiteY2" fmla="*/ 1018645 h 1018645"/>
              <a:gd name="connsiteX3" fmla="*/ 0 w 1696507"/>
              <a:gd name="connsiteY3" fmla="*/ 1018645 h 1018645"/>
              <a:gd name="connsiteX4" fmla="*/ 0 w 1696507"/>
              <a:gd name="connsiteY4" fmla="*/ 0 h 1018645"/>
              <a:gd name="connsiteX0" fmla="*/ 0 w 1696507"/>
              <a:gd name="connsiteY0" fmla="*/ 482600 h 1501245"/>
              <a:gd name="connsiteX1" fmla="*/ 1696507 w 1696507"/>
              <a:gd name="connsiteY1" fmla="*/ 0 h 1501245"/>
              <a:gd name="connsiteX2" fmla="*/ 1696507 w 1696507"/>
              <a:gd name="connsiteY2" fmla="*/ 1501245 h 1501245"/>
              <a:gd name="connsiteX3" fmla="*/ 0 w 1696507"/>
              <a:gd name="connsiteY3" fmla="*/ 1501245 h 1501245"/>
              <a:gd name="connsiteX4" fmla="*/ 0 w 1696507"/>
              <a:gd name="connsiteY4" fmla="*/ 482600 h 1501245"/>
              <a:gd name="connsiteX0" fmla="*/ 0 w 1696507"/>
              <a:gd name="connsiteY0" fmla="*/ 482600 h 1501245"/>
              <a:gd name="connsiteX1" fmla="*/ 1696507 w 1696507"/>
              <a:gd name="connsiteY1" fmla="*/ 0 h 1501245"/>
              <a:gd name="connsiteX2" fmla="*/ 1696507 w 1696507"/>
              <a:gd name="connsiteY2" fmla="*/ 1332970 h 1501245"/>
              <a:gd name="connsiteX3" fmla="*/ 0 w 1696507"/>
              <a:gd name="connsiteY3" fmla="*/ 1501245 h 1501245"/>
              <a:gd name="connsiteX4" fmla="*/ 0 w 1696507"/>
              <a:gd name="connsiteY4" fmla="*/ 482600 h 1501245"/>
              <a:gd name="connsiteX0" fmla="*/ 0 w 1696507"/>
              <a:gd name="connsiteY0" fmla="*/ 482600 h 1501245"/>
              <a:gd name="connsiteX1" fmla="*/ 1696507 w 1696507"/>
              <a:gd name="connsiteY1" fmla="*/ 0 h 1501245"/>
              <a:gd name="connsiteX2" fmla="*/ 1696507 w 1696507"/>
              <a:gd name="connsiteY2" fmla="*/ 1332970 h 1501245"/>
              <a:gd name="connsiteX3" fmla="*/ 0 w 1696507"/>
              <a:gd name="connsiteY3" fmla="*/ 1501245 h 1501245"/>
              <a:gd name="connsiteX4" fmla="*/ 0 w 1696507"/>
              <a:gd name="connsiteY4" fmla="*/ 482600 h 1501245"/>
              <a:gd name="connsiteX0" fmla="*/ 0 w 1696507"/>
              <a:gd name="connsiteY0" fmla="*/ 492125 h 1510770"/>
              <a:gd name="connsiteX1" fmla="*/ 1693332 w 1696507"/>
              <a:gd name="connsiteY1" fmla="*/ 0 h 1510770"/>
              <a:gd name="connsiteX2" fmla="*/ 1696507 w 1696507"/>
              <a:gd name="connsiteY2" fmla="*/ 1342495 h 1510770"/>
              <a:gd name="connsiteX3" fmla="*/ 0 w 1696507"/>
              <a:gd name="connsiteY3" fmla="*/ 1510770 h 1510770"/>
              <a:gd name="connsiteX4" fmla="*/ 0 w 1696507"/>
              <a:gd name="connsiteY4" fmla="*/ 492125 h 151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6507" h="1510770">
                <a:moveTo>
                  <a:pt x="0" y="492125"/>
                </a:moveTo>
                <a:lnTo>
                  <a:pt x="1693332" y="0"/>
                </a:lnTo>
                <a:cubicBezTo>
                  <a:pt x="1694390" y="447498"/>
                  <a:pt x="1695449" y="894997"/>
                  <a:pt x="1696507" y="1342495"/>
                </a:cubicBezTo>
                <a:lnTo>
                  <a:pt x="0" y="1510770"/>
                </a:lnTo>
                <a:lnTo>
                  <a:pt x="0" y="492125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10"/>
          <p:cNvSpPr/>
          <p:nvPr/>
        </p:nvSpPr>
        <p:spPr>
          <a:xfrm>
            <a:off x="3101974" y="4412607"/>
            <a:ext cx="660400" cy="1501245"/>
          </a:xfrm>
          <a:custGeom>
            <a:avLst/>
            <a:gdLst>
              <a:gd name="connsiteX0" fmla="*/ 0 w 1696507"/>
              <a:gd name="connsiteY0" fmla="*/ 0 h 1018645"/>
              <a:gd name="connsiteX1" fmla="*/ 1696507 w 1696507"/>
              <a:gd name="connsiteY1" fmla="*/ 0 h 1018645"/>
              <a:gd name="connsiteX2" fmla="*/ 1696507 w 1696507"/>
              <a:gd name="connsiteY2" fmla="*/ 1018645 h 1018645"/>
              <a:gd name="connsiteX3" fmla="*/ 0 w 1696507"/>
              <a:gd name="connsiteY3" fmla="*/ 1018645 h 1018645"/>
              <a:gd name="connsiteX4" fmla="*/ 0 w 1696507"/>
              <a:gd name="connsiteY4" fmla="*/ 0 h 1018645"/>
              <a:gd name="connsiteX0" fmla="*/ 0 w 1696507"/>
              <a:gd name="connsiteY0" fmla="*/ 0 h 1018645"/>
              <a:gd name="connsiteX1" fmla="*/ 1696507 w 1696507"/>
              <a:gd name="connsiteY1" fmla="*/ 168275 h 1018645"/>
              <a:gd name="connsiteX2" fmla="*/ 1696507 w 1696507"/>
              <a:gd name="connsiteY2" fmla="*/ 1018645 h 1018645"/>
              <a:gd name="connsiteX3" fmla="*/ 0 w 1696507"/>
              <a:gd name="connsiteY3" fmla="*/ 1018645 h 1018645"/>
              <a:gd name="connsiteX4" fmla="*/ 0 w 1696507"/>
              <a:gd name="connsiteY4" fmla="*/ 0 h 1018645"/>
              <a:gd name="connsiteX0" fmla="*/ 0 w 1696507"/>
              <a:gd name="connsiteY0" fmla="*/ 0 h 1501245"/>
              <a:gd name="connsiteX1" fmla="*/ 1696507 w 1696507"/>
              <a:gd name="connsiteY1" fmla="*/ 168275 h 1501245"/>
              <a:gd name="connsiteX2" fmla="*/ 1696507 w 1696507"/>
              <a:gd name="connsiteY2" fmla="*/ 1501245 h 1501245"/>
              <a:gd name="connsiteX3" fmla="*/ 0 w 1696507"/>
              <a:gd name="connsiteY3" fmla="*/ 1018645 h 1501245"/>
              <a:gd name="connsiteX4" fmla="*/ 0 w 1696507"/>
              <a:gd name="connsiteY4" fmla="*/ 0 h 1501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6507" h="1501245">
                <a:moveTo>
                  <a:pt x="0" y="0"/>
                </a:moveTo>
                <a:lnTo>
                  <a:pt x="1696507" y="168275"/>
                </a:lnTo>
                <a:lnTo>
                  <a:pt x="1696507" y="1501245"/>
                </a:lnTo>
                <a:lnTo>
                  <a:pt x="0" y="10186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550184" y="2606639"/>
            <a:ext cx="1533182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et Movie Database (IMDb)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550184" y="3629815"/>
            <a:ext cx="1493993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Movie Database (TMDB)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Round Same Side Corner Rectangle 47"/>
          <p:cNvSpPr/>
          <p:nvPr/>
        </p:nvSpPr>
        <p:spPr>
          <a:xfrm rot="5400000">
            <a:off x="6862654" y="-1216294"/>
            <a:ext cx="1346199" cy="7546757"/>
          </a:xfrm>
          <a:prstGeom prst="round2Same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Round Same Side Corner Rectangle 48"/>
          <p:cNvSpPr/>
          <p:nvPr/>
        </p:nvSpPr>
        <p:spPr>
          <a:xfrm rot="5400000">
            <a:off x="6862654" y="129906"/>
            <a:ext cx="1346199" cy="7546757"/>
          </a:xfrm>
          <a:prstGeom prst="round2Same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ound Same Side Corner Rectangle 49"/>
          <p:cNvSpPr/>
          <p:nvPr/>
        </p:nvSpPr>
        <p:spPr>
          <a:xfrm rot="5400000">
            <a:off x="6862653" y="1476107"/>
            <a:ext cx="1346199" cy="7546755"/>
          </a:xfrm>
          <a:prstGeom prst="round2Same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316866" y="2116420"/>
            <a:ext cx="2541134" cy="861774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SQL Database with 8 tables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Person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ncipal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Known For</a:t>
            </a:r>
          </a:p>
        </p:txBody>
      </p:sp>
      <p:sp>
        <p:nvSpPr>
          <p:cNvPr id="57" name="Freeform 26"/>
          <p:cNvSpPr>
            <a:spLocks noEditPoints="1"/>
          </p:cNvSpPr>
          <p:nvPr/>
        </p:nvSpPr>
        <p:spPr bwMode="auto">
          <a:xfrm>
            <a:off x="1039805" y="2689182"/>
            <a:ext cx="368300" cy="371475"/>
          </a:xfrm>
          <a:custGeom>
            <a:avLst/>
            <a:gdLst>
              <a:gd name="T0" fmla="*/ 94 w 137"/>
              <a:gd name="T1" fmla="*/ 95 h 138"/>
              <a:gd name="T2" fmla="*/ 98 w 137"/>
              <a:gd name="T3" fmla="*/ 83 h 138"/>
              <a:gd name="T4" fmla="*/ 101 w 137"/>
              <a:gd name="T5" fmla="*/ 95 h 138"/>
              <a:gd name="T6" fmla="*/ 106 w 137"/>
              <a:gd name="T7" fmla="*/ 43 h 138"/>
              <a:gd name="T8" fmla="*/ 88 w 137"/>
              <a:gd name="T9" fmla="*/ 95 h 138"/>
              <a:gd name="T10" fmla="*/ 100 w 137"/>
              <a:gd name="T11" fmla="*/ 52 h 138"/>
              <a:gd name="T12" fmla="*/ 94 w 137"/>
              <a:gd name="T13" fmla="*/ 52 h 138"/>
              <a:gd name="T14" fmla="*/ 97 w 137"/>
              <a:gd name="T15" fmla="*/ 60 h 138"/>
              <a:gd name="T16" fmla="*/ 97 w 137"/>
              <a:gd name="T17" fmla="*/ 66 h 138"/>
              <a:gd name="T18" fmla="*/ 97 w 137"/>
              <a:gd name="T19" fmla="*/ 60 h 138"/>
              <a:gd name="T20" fmla="*/ 100 w 137"/>
              <a:gd name="T21" fmla="*/ 75 h 138"/>
              <a:gd name="T22" fmla="*/ 94 w 137"/>
              <a:gd name="T23" fmla="*/ 75 h 138"/>
              <a:gd name="T24" fmla="*/ 68 w 137"/>
              <a:gd name="T25" fmla="*/ 0 h 138"/>
              <a:gd name="T26" fmla="*/ 68 w 137"/>
              <a:gd name="T27" fmla="*/ 138 h 138"/>
              <a:gd name="T28" fmla="*/ 68 w 137"/>
              <a:gd name="T29" fmla="*/ 0 h 138"/>
              <a:gd name="T30" fmla="*/ 108 w 137"/>
              <a:gd name="T31" fmla="*/ 102 h 138"/>
              <a:gd name="T32" fmla="*/ 25 w 137"/>
              <a:gd name="T33" fmla="*/ 98 h 138"/>
              <a:gd name="T34" fmla="*/ 28 w 137"/>
              <a:gd name="T35" fmla="*/ 36 h 138"/>
              <a:gd name="T36" fmla="*/ 49 w 137"/>
              <a:gd name="T37" fmla="*/ 29 h 138"/>
              <a:gd name="T38" fmla="*/ 86 w 137"/>
              <a:gd name="T39" fmla="*/ 26 h 138"/>
              <a:gd name="T40" fmla="*/ 88 w 137"/>
              <a:gd name="T41" fmla="*/ 36 h 138"/>
              <a:gd name="T42" fmla="*/ 112 w 137"/>
              <a:gd name="T43" fmla="*/ 40 h 138"/>
              <a:gd name="T44" fmla="*/ 54 w 137"/>
              <a:gd name="T45" fmla="*/ 95 h 138"/>
              <a:gd name="T46" fmla="*/ 60 w 137"/>
              <a:gd name="T47" fmla="*/ 86 h 138"/>
              <a:gd name="T48" fmla="*/ 65 w 137"/>
              <a:gd name="T49" fmla="*/ 86 h 138"/>
              <a:gd name="T50" fmla="*/ 82 w 137"/>
              <a:gd name="T51" fmla="*/ 95 h 138"/>
              <a:gd name="T52" fmla="*/ 54 w 137"/>
              <a:gd name="T53" fmla="*/ 31 h 138"/>
              <a:gd name="T54" fmla="*/ 74 w 137"/>
              <a:gd name="T55" fmla="*/ 38 h 138"/>
              <a:gd name="T56" fmla="*/ 74 w 137"/>
              <a:gd name="T57" fmla="*/ 43 h 138"/>
              <a:gd name="T58" fmla="*/ 74 w 137"/>
              <a:gd name="T59" fmla="*/ 38 h 138"/>
              <a:gd name="T60" fmla="*/ 77 w 137"/>
              <a:gd name="T61" fmla="*/ 52 h 138"/>
              <a:gd name="T62" fmla="*/ 71 w 137"/>
              <a:gd name="T63" fmla="*/ 52 h 138"/>
              <a:gd name="T64" fmla="*/ 74 w 137"/>
              <a:gd name="T65" fmla="*/ 60 h 138"/>
              <a:gd name="T66" fmla="*/ 74 w 137"/>
              <a:gd name="T67" fmla="*/ 66 h 138"/>
              <a:gd name="T68" fmla="*/ 74 w 137"/>
              <a:gd name="T69" fmla="*/ 60 h 138"/>
              <a:gd name="T70" fmla="*/ 77 w 137"/>
              <a:gd name="T71" fmla="*/ 75 h 138"/>
              <a:gd name="T72" fmla="*/ 71 w 137"/>
              <a:gd name="T73" fmla="*/ 75 h 138"/>
              <a:gd name="T74" fmla="*/ 63 w 137"/>
              <a:gd name="T75" fmla="*/ 38 h 138"/>
              <a:gd name="T76" fmla="*/ 63 w 137"/>
              <a:gd name="T77" fmla="*/ 43 h 138"/>
              <a:gd name="T78" fmla="*/ 63 w 137"/>
              <a:gd name="T79" fmla="*/ 38 h 138"/>
              <a:gd name="T80" fmla="*/ 65 w 137"/>
              <a:gd name="T81" fmla="*/ 52 h 138"/>
              <a:gd name="T82" fmla="*/ 60 w 137"/>
              <a:gd name="T83" fmla="*/ 52 h 138"/>
              <a:gd name="T84" fmla="*/ 63 w 137"/>
              <a:gd name="T85" fmla="*/ 60 h 138"/>
              <a:gd name="T86" fmla="*/ 63 w 137"/>
              <a:gd name="T87" fmla="*/ 66 h 138"/>
              <a:gd name="T88" fmla="*/ 63 w 137"/>
              <a:gd name="T89" fmla="*/ 60 h 138"/>
              <a:gd name="T90" fmla="*/ 65 w 137"/>
              <a:gd name="T91" fmla="*/ 75 h 138"/>
              <a:gd name="T92" fmla="*/ 60 w 137"/>
              <a:gd name="T93" fmla="*/ 75 h 138"/>
              <a:gd name="T94" fmla="*/ 30 w 137"/>
              <a:gd name="T95" fmla="*/ 95 h 138"/>
              <a:gd name="T96" fmla="*/ 36 w 137"/>
              <a:gd name="T97" fmla="*/ 86 h 138"/>
              <a:gd name="T98" fmla="*/ 42 w 137"/>
              <a:gd name="T99" fmla="*/ 86 h 138"/>
              <a:gd name="T100" fmla="*/ 49 w 137"/>
              <a:gd name="T101" fmla="*/ 95 h 138"/>
              <a:gd name="T102" fmla="*/ 30 w 137"/>
              <a:gd name="T103" fmla="*/ 43 h 138"/>
              <a:gd name="T104" fmla="*/ 40 w 137"/>
              <a:gd name="T105" fmla="*/ 49 h 138"/>
              <a:gd name="T106" fmla="*/ 40 w 137"/>
              <a:gd name="T107" fmla="*/ 55 h 138"/>
              <a:gd name="T108" fmla="*/ 40 w 137"/>
              <a:gd name="T109" fmla="*/ 49 h 138"/>
              <a:gd name="T110" fmla="*/ 43 w 137"/>
              <a:gd name="T111" fmla="*/ 63 h 138"/>
              <a:gd name="T112" fmla="*/ 37 w 137"/>
              <a:gd name="T113" fmla="*/ 63 h 138"/>
              <a:gd name="T114" fmla="*/ 40 w 137"/>
              <a:gd name="T115" fmla="*/ 72 h 138"/>
              <a:gd name="T116" fmla="*/ 40 w 137"/>
              <a:gd name="T117" fmla="*/ 78 h 138"/>
              <a:gd name="T118" fmla="*/ 40 w 137"/>
              <a:gd name="T119" fmla="*/ 72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7" h="138">
                <a:moveTo>
                  <a:pt x="88" y="95"/>
                </a:moveTo>
                <a:cubicBezTo>
                  <a:pt x="94" y="95"/>
                  <a:pt x="94" y="95"/>
                  <a:pt x="94" y="95"/>
                </a:cubicBezTo>
                <a:cubicBezTo>
                  <a:pt x="94" y="86"/>
                  <a:pt x="94" y="86"/>
                  <a:pt x="94" y="86"/>
                </a:cubicBezTo>
                <a:cubicBezTo>
                  <a:pt x="94" y="85"/>
                  <a:pt x="96" y="83"/>
                  <a:pt x="98" y="83"/>
                </a:cubicBezTo>
                <a:cubicBezTo>
                  <a:pt x="99" y="83"/>
                  <a:pt x="101" y="85"/>
                  <a:pt x="101" y="86"/>
                </a:cubicBezTo>
                <a:cubicBezTo>
                  <a:pt x="101" y="95"/>
                  <a:pt x="101" y="95"/>
                  <a:pt x="101" y="95"/>
                </a:cubicBezTo>
                <a:cubicBezTo>
                  <a:pt x="106" y="95"/>
                  <a:pt x="106" y="95"/>
                  <a:pt x="106" y="95"/>
                </a:cubicBezTo>
                <a:cubicBezTo>
                  <a:pt x="106" y="43"/>
                  <a:pt x="106" y="43"/>
                  <a:pt x="106" y="43"/>
                </a:cubicBezTo>
                <a:cubicBezTo>
                  <a:pt x="88" y="43"/>
                  <a:pt x="88" y="43"/>
                  <a:pt x="88" y="43"/>
                </a:cubicBezTo>
                <a:lnTo>
                  <a:pt x="88" y="95"/>
                </a:lnTo>
                <a:close/>
                <a:moveTo>
                  <a:pt x="97" y="49"/>
                </a:moveTo>
                <a:cubicBezTo>
                  <a:pt x="99" y="49"/>
                  <a:pt x="100" y="50"/>
                  <a:pt x="100" y="52"/>
                </a:cubicBezTo>
                <a:cubicBezTo>
                  <a:pt x="100" y="53"/>
                  <a:pt x="99" y="55"/>
                  <a:pt x="97" y="55"/>
                </a:cubicBezTo>
                <a:cubicBezTo>
                  <a:pt x="95" y="55"/>
                  <a:pt x="94" y="53"/>
                  <a:pt x="94" y="52"/>
                </a:cubicBezTo>
                <a:cubicBezTo>
                  <a:pt x="94" y="50"/>
                  <a:pt x="95" y="49"/>
                  <a:pt x="97" y="49"/>
                </a:cubicBezTo>
                <a:close/>
                <a:moveTo>
                  <a:pt x="97" y="60"/>
                </a:moveTo>
                <a:cubicBezTo>
                  <a:pt x="99" y="60"/>
                  <a:pt x="100" y="62"/>
                  <a:pt x="100" y="63"/>
                </a:cubicBezTo>
                <a:cubicBezTo>
                  <a:pt x="100" y="65"/>
                  <a:pt x="99" y="66"/>
                  <a:pt x="97" y="66"/>
                </a:cubicBezTo>
                <a:cubicBezTo>
                  <a:pt x="95" y="66"/>
                  <a:pt x="94" y="65"/>
                  <a:pt x="94" y="63"/>
                </a:cubicBezTo>
                <a:cubicBezTo>
                  <a:pt x="94" y="62"/>
                  <a:pt x="95" y="60"/>
                  <a:pt x="97" y="60"/>
                </a:cubicBezTo>
                <a:close/>
                <a:moveTo>
                  <a:pt x="97" y="72"/>
                </a:moveTo>
                <a:cubicBezTo>
                  <a:pt x="99" y="72"/>
                  <a:pt x="100" y="73"/>
                  <a:pt x="100" y="75"/>
                </a:cubicBezTo>
                <a:cubicBezTo>
                  <a:pt x="100" y="76"/>
                  <a:pt x="99" y="78"/>
                  <a:pt x="97" y="78"/>
                </a:cubicBezTo>
                <a:cubicBezTo>
                  <a:pt x="95" y="78"/>
                  <a:pt x="94" y="76"/>
                  <a:pt x="94" y="75"/>
                </a:cubicBezTo>
                <a:cubicBezTo>
                  <a:pt x="94" y="73"/>
                  <a:pt x="95" y="72"/>
                  <a:pt x="97" y="72"/>
                </a:cubicBezTo>
                <a:close/>
                <a:moveTo>
                  <a:pt x="68" y="0"/>
                </a:moveTo>
                <a:cubicBezTo>
                  <a:pt x="30" y="0"/>
                  <a:pt x="0" y="31"/>
                  <a:pt x="0" y="69"/>
                </a:cubicBezTo>
                <a:cubicBezTo>
                  <a:pt x="0" y="107"/>
                  <a:pt x="30" y="138"/>
                  <a:pt x="68" y="138"/>
                </a:cubicBezTo>
                <a:cubicBezTo>
                  <a:pt x="106" y="138"/>
                  <a:pt x="137" y="107"/>
                  <a:pt x="137" y="69"/>
                </a:cubicBezTo>
                <a:cubicBezTo>
                  <a:pt x="137" y="31"/>
                  <a:pt x="106" y="0"/>
                  <a:pt x="68" y="0"/>
                </a:cubicBezTo>
                <a:close/>
                <a:moveTo>
                  <a:pt x="112" y="98"/>
                </a:moveTo>
                <a:cubicBezTo>
                  <a:pt x="112" y="99"/>
                  <a:pt x="110" y="102"/>
                  <a:pt x="108" y="102"/>
                </a:cubicBezTo>
                <a:cubicBezTo>
                  <a:pt x="28" y="102"/>
                  <a:pt x="28" y="102"/>
                  <a:pt x="28" y="102"/>
                </a:cubicBezTo>
                <a:cubicBezTo>
                  <a:pt x="27" y="102"/>
                  <a:pt x="25" y="99"/>
                  <a:pt x="25" y="98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39"/>
                  <a:pt x="27" y="36"/>
                  <a:pt x="28" y="36"/>
                </a:cubicBezTo>
                <a:cubicBezTo>
                  <a:pt x="49" y="36"/>
                  <a:pt x="49" y="36"/>
                  <a:pt x="49" y="36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7"/>
                  <a:pt x="50" y="26"/>
                  <a:pt x="51" y="26"/>
                </a:cubicBezTo>
                <a:cubicBezTo>
                  <a:pt x="86" y="26"/>
                  <a:pt x="86" y="26"/>
                  <a:pt x="86" y="26"/>
                </a:cubicBezTo>
                <a:cubicBezTo>
                  <a:pt x="87" y="26"/>
                  <a:pt x="88" y="27"/>
                  <a:pt x="88" y="29"/>
                </a:cubicBezTo>
                <a:cubicBezTo>
                  <a:pt x="88" y="36"/>
                  <a:pt x="88" y="36"/>
                  <a:pt x="88" y="36"/>
                </a:cubicBezTo>
                <a:cubicBezTo>
                  <a:pt x="108" y="36"/>
                  <a:pt x="108" y="36"/>
                  <a:pt x="108" y="36"/>
                </a:cubicBezTo>
                <a:cubicBezTo>
                  <a:pt x="110" y="36"/>
                  <a:pt x="112" y="39"/>
                  <a:pt x="112" y="40"/>
                </a:cubicBezTo>
                <a:lnTo>
                  <a:pt x="112" y="98"/>
                </a:lnTo>
                <a:close/>
                <a:moveTo>
                  <a:pt x="54" y="95"/>
                </a:moveTo>
                <a:cubicBezTo>
                  <a:pt x="60" y="95"/>
                  <a:pt x="60" y="95"/>
                  <a:pt x="60" y="95"/>
                </a:cubicBezTo>
                <a:cubicBezTo>
                  <a:pt x="60" y="86"/>
                  <a:pt x="60" y="86"/>
                  <a:pt x="60" y="86"/>
                </a:cubicBezTo>
                <a:cubicBezTo>
                  <a:pt x="60" y="85"/>
                  <a:pt x="61" y="83"/>
                  <a:pt x="62" y="83"/>
                </a:cubicBezTo>
                <a:cubicBezTo>
                  <a:pt x="64" y="83"/>
                  <a:pt x="65" y="85"/>
                  <a:pt x="65" y="86"/>
                </a:cubicBezTo>
                <a:cubicBezTo>
                  <a:pt x="65" y="95"/>
                  <a:pt x="65" y="95"/>
                  <a:pt x="65" y="95"/>
                </a:cubicBezTo>
                <a:cubicBezTo>
                  <a:pt x="82" y="95"/>
                  <a:pt x="82" y="95"/>
                  <a:pt x="82" y="95"/>
                </a:cubicBezTo>
                <a:cubicBezTo>
                  <a:pt x="82" y="31"/>
                  <a:pt x="82" y="31"/>
                  <a:pt x="82" y="31"/>
                </a:cubicBezTo>
                <a:cubicBezTo>
                  <a:pt x="54" y="31"/>
                  <a:pt x="54" y="31"/>
                  <a:pt x="54" y="31"/>
                </a:cubicBezTo>
                <a:lnTo>
                  <a:pt x="54" y="95"/>
                </a:lnTo>
                <a:close/>
                <a:moveTo>
                  <a:pt x="74" y="38"/>
                </a:moveTo>
                <a:cubicBezTo>
                  <a:pt x="76" y="38"/>
                  <a:pt x="77" y="39"/>
                  <a:pt x="77" y="40"/>
                </a:cubicBezTo>
                <a:cubicBezTo>
                  <a:pt x="77" y="42"/>
                  <a:pt x="76" y="43"/>
                  <a:pt x="74" y="43"/>
                </a:cubicBezTo>
                <a:cubicBezTo>
                  <a:pt x="72" y="43"/>
                  <a:pt x="71" y="42"/>
                  <a:pt x="71" y="40"/>
                </a:cubicBezTo>
                <a:cubicBezTo>
                  <a:pt x="71" y="39"/>
                  <a:pt x="72" y="38"/>
                  <a:pt x="74" y="38"/>
                </a:cubicBezTo>
                <a:close/>
                <a:moveTo>
                  <a:pt x="74" y="49"/>
                </a:moveTo>
                <a:cubicBezTo>
                  <a:pt x="76" y="49"/>
                  <a:pt x="77" y="50"/>
                  <a:pt x="77" y="52"/>
                </a:cubicBezTo>
                <a:cubicBezTo>
                  <a:pt x="77" y="53"/>
                  <a:pt x="76" y="55"/>
                  <a:pt x="74" y="55"/>
                </a:cubicBezTo>
                <a:cubicBezTo>
                  <a:pt x="72" y="55"/>
                  <a:pt x="71" y="53"/>
                  <a:pt x="71" y="52"/>
                </a:cubicBezTo>
                <a:cubicBezTo>
                  <a:pt x="71" y="50"/>
                  <a:pt x="72" y="49"/>
                  <a:pt x="74" y="49"/>
                </a:cubicBezTo>
                <a:close/>
                <a:moveTo>
                  <a:pt x="74" y="60"/>
                </a:moveTo>
                <a:cubicBezTo>
                  <a:pt x="76" y="60"/>
                  <a:pt x="77" y="62"/>
                  <a:pt x="77" y="63"/>
                </a:cubicBezTo>
                <a:cubicBezTo>
                  <a:pt x="77" y="65"/>
                  <a:pt x="76" y="66"/>
                  <a:pt x="74" y="66"/>
                </a:cubicBezTo>
                <a:cubicBezTo>
                  <a:pt x="72" y="66"/>
                  <a:pt x="71" y="65"/>
                  <a:pt x="71" y="63"/>
                </a:cubicBezTo>
                <a:cubicBezTo>
                  <a:pt x="71" y="62"/>
                  <a:pt x="72" y="60"/>
                  <a:pt x="74" y="60"/>
                </a:cubicBezTo>
                <a:close/>
                <a:moveTo>
                  <a:pt x="74" y="72"/>
                </a:moveTo>
                <a:cubicBezTo>
                  <a:pt x="76" y="72"/>
                  <a:pt x="77" y="73"/>
                  <a:pt x="77" y="75"/>
                </a:cubicBezTo>
                <a:cubicBezTo>
                  <a:pt x="77" y="76"/>
                  <a:pt x="76" y="78"/>
                  <a:pt x="74" y="78"/>
                </a:cubicBezTo>
                <a:cubicBezTo>
                  <a:pt x="72" y="78"/>
                  <a:pt x="71" y="76"/>
                  <a:pt x="71" y="75"/>
                </a:cubicBezTo>
                <a:cubicBezTo>
                  <a:pt x="71" y="73"/>
                  <a:pt x="72" y="72"/>
                  <a:pt x="74" y="72"/>
                </a:cubicBezTo>
                <a:close/>
                <a:moveTo>
                  <a:pt x="63" y="38"/>
                </a:moveTo>
                <a:cubicBezTo>
                  <a:pt x="64" y="38"/>
                  <a:pt x="65" y="39"/>
                  <a:pt x="65" y="40"/>
                </a:cubicBezTo>
                <a:cubicBezTo>
                  <a:pt x="65" y="42"/>
                  <a:pt x="64" y="43"/>
                  <a:pt x="63" y="43"/>
                </a:cubicBezTo>
                <a:cubicBezTo>
                  <a:pt x="61" y="43"/>
                  <a:pt x="60" y="42"/>
                  <a:pt x="60" y="40"/>
                </a:cubicBezTo>
                <a:cubicBezTo>
                  <a:pt x="60" y="39"/>
                  <a:pt x="61" y="38"/>
                  <a:pt x="63" y="38"/>
                </a:cubicBezTo>
                <a:close/>
                <a:moveTo>
                  <a:pt x="63" y="49"/>
                </a:moveTo>
                <a:cubicBezTo>
                  <a:pt x="64" y="49"/>
                  <a:pt x="65" y="50"/>
                  <a:pt x="65" y="52"/>
                </a:cubicBezTo>
                <a:cubicBezTo>
                  <a:pt x="65" y="53"/>
                  <a:pt x="64" y="55"/>
                  <a:pt x="63" y="55"/>
                </a:cubicBezTo>
                <a:cubicBezTo>
                  <a:pt x="61" y="55"/>
                  <a:pt x="60" y="53"/>
                  <a:pt x="60" y="52"/>
                </a:cubicBezTo>
                <a:cubicBezTo>
                  <a:pt x="60" y="50"/>
                  <a:pt x="61" y="49"/>
                  <a:pt x="63" y="49"/>
                </a:cubicBezTo>
                <a:close/>
                <a:moveTo>
                  <a:pt x="63" y="60"/>
                </a:moveTo>
                <a:cubicBezTo>
                  <a:pt x="64" y="60"/>
                  <a:pt x="65" y="62"/>
                  <a:pt x="65" y="63"/>
                </a:cubicBezTo>
                <a:cubicBezTo>
                  <a:pt x="65" y="65"/>
                  <a:pt x="64" y="66"/>
                  <a:pt x="63" y="66"/>
                </a:cubicBezTo>
                <a:cubicBezTo>
                  <a:pt x="61" y="66"/>
                  <a:pt x="60" y="65"/>
                  <a:pt x="60" y="63"/>
                </a:cubicBezTo>
                <a:cubicBezTo>
                  <a:pt x="60" y="62"/>
                  <a:pt x="61" y="60"/>
                  <a:pt x="63" y="60"/>
                </a:cubicBezTo>
                <a:close/>
                <a:moveTo>
                  <a:pt x="63" y="72"/>
                </a:moveTo>
                <a:cubicBezTo>
                  <a:pt x="64" y="72"/>
                  <a:pt x="65" y="73"/>
                  <a:pt x="65" y="75"/>
                </a:cubicBezTo>
                <a:cubicBezTo>
                  <a:pt x="65" y="76"/>
                  <a:pt x="64" y="78"/>
                  <a:pt x="63" y="78"/>
                </a:cubicBezTo>
                <a:cubicBezTo>
                  <a:pt x="61" y="78"/>
                  <a:pt x="60" y="76"/>
                  <a:pt x="60" y="75"/>
                </a:cubicBezTo>
                <a:cubicBezTo>
                  <a:pt x="60" y="73"/>
                  <a:pt x="61" y="72"/>
                  <a:pt x="63" y="72"/>
                </a:cubicBezTo>
                <a:close/>
                <a:moveTo>
                  <a:pt x="30" y="95"/>
                </a:moveTo>
                <a:cubicBezTo>
                  <a:pt x="36" y="95"/>
                  <a:pt x="36" y="95"/>
                  <a:pt x="36" y="95"/>
                </a:cubicBezTo>
                <a:cubicBezTo>
                  <a:pt x="36" y="86"/>
                  <a:pt x="36" y="86"/>
                  <a:pt x="36" y="86"/>
                </a:cubicBezTo>
                <a:cubicBezTo>
                  <a:pt x="36" y="85"/>
                  <a:pt x="37" y="83"/>
                  <a:pt x="39" y="83"/>
                </a:cubicBezTo>
                <a:cubicBezTo>
                  <a:pt x="41" y="83"/>
                  <a:pt x="42" y="85"/>
                  <a:pt x="42" y="86"/>
                </a:cubicBezTo>
                <a:cubicBezTo>
                  <a:pt x="42" y="95"/>
                  <a:pt x="42" y="95"/>
                  <a:pt x="42" y="95"/>
                </a:cubicBezTo>
                <a:cubicBezTo>
                  <a:pt x="49" y="95"/>
                  <a:pt x="49" y="95"/>
                  <a:pt x="49" y="95"/>
                </a:cubicBezTo>
                <a:cubicBezTo>
                  <a:pt x="49" y="43"/>
                  <a:pt x="49" y="43"/>
                  <a:pt x="49" y="43"/>
                </a:cubicBezTo>
                <a:cubicBezTo>
                  <a:pt x="30" y="43"/>
                  <a:pt x="30" y="43"/>
                  <a:pt x="30" y="43"/>
                </a:cubicBezTo>
                <a:lnTo>
                  <a:pt x="30" y="95"/>
                </a:lnTo>
                <a:close/>
                <a:moveTo>
                  <a:pt x="40" y="49"/>
                </a:moveTo>
                <a:cubicBezTo>
                  <a:pt x="41" y="49"/>
                  <a:pt x="43" y="50"/>
                  <a:pt x="43" y="52"/>
                </a:cubicBezTo>
                <a:cubicBezTo>
                  <a:pt x="43" y="53"/>
                  <a:pt x="41" y="55"/>
                  <a:pt x="40" y="55"/>
                </a:cubicBezTo>
                <a:cubicBezTo>
                  <a:pt x="38" y="55"/>
                  <a:pt x="37" y="53"/>
                  <a:pt x="37" y="52"/>
                </a:cubicBezTo>
                <a:cubicBezTo>
                  <a:pt x="37" y="50"/>
                  <a:pt x="38" y="49"/>
                  <a:pt x="40" y="49"/>
                </a:cubicBezTo>
                <a:close/>
                <a:moveTo>
                  <a:pt x="40" y="60"/>
                </a:moveTo>
                <a:cubicBezTo>
                  <a:pt x="41" y="60"/>
                  <a:pt x="43" y="62"/>
                  <a:pt x="43" y="63"/>
                </a:cubicBezTo>
                <a:cubicBezTo>
                  <a:pt x="43" y="65"/>
                  <a:pt x="41" y="66"/>
                  <a:pt x="40" y="66"/>
                </a:cubicBezTo>
                <a:cubicBezTo>
                  <a:pt x="38" y="66"/>
                  <a:pt x="37" y="65"/>
                  <a:pt x="37" y="63"/>
                </a:cubicBezTo>
                <a:cubicBezTo>
                  <a:pt x="37" y="62"/>
                  <a:pt x="38" y="60"/>
                  <a:pt x="40" y="60"/>
                </a:cubicBezTo>
                <a:close/>
                <a:moveTo>
                  <a:pt x="40" y="72"/>
                </a:moveTo>
                <a:cubicBezTo>
                  <a:pt x="41" y="72"/>
                  <a:pt x="43" y="73"/>
                  <a:pt x="43" y="75"/>
                </a:cubicBezTo>
                <a:cubicBezTo>
                  <a:pt x="43" y="76"/>
                  <a:pt x="41" y="78"/>
                  <a:pt x="40" y="78"/>
                </a:cubicBezTo>
                <a:cubicBezTo>
                  <a:pt x="38" y="78"/>
                  <a:pt x="37" y="76"/>
                  <a:pt x="37" y="75"/>
                </a:cubicBezTo>
                <a:cubicBezTo>
                  <a:pt x="37" y="73"/>
                  <a:pt x="38" y="72"/>
                  <a:pt x="40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Freeform 23"/>
          <p:cNvSpPr>
            <a:spLocks noChangeAspect="1" noEditPoints="1"/>
          </p:cNvSpPr>
          <p:nvPr/>
        </p:nvSpPr>
        <p:spPr bwMode="auto">
          <a:xfrm>
            <a:off x="1049880" y="3690558"/>
            <a:ext cx="370106" cy="369021"/>
          </a:xfrm>
          <a:custGeom>
            <a:avLst/>
            <a:gdLst>
              <a:gd name="T0" fmla="*/ 192 w 512"/>
              <a:gd name="T1" fmla="*/ 352 h 512"/>
              <a:gd name="T2" fmla="*/ 266 w 512"/>
              <a:gd name="T3" fmla="*/ 117 h 512"/>
              <a:gd name="T4" fmla="*/ 227 w 512"/>
              <a:gd name="T5" fmla="*/ 141 h 512"/>
              <a:gd name="T6" fmla="*/ 245 w 512"/>
              <a:gd name="T7" fmla="*/ 149 h 512"/>
              <a:gd name="T8" fmla="*/ 234 w 512"/>
              <a:gd name="T9" fmla="*/ 160 h 512"/>
              <a:gd name="T10" fmla="*/ 225 w 512"/>
              <a:gd name="T11" fmla="*/ 188 h 512"/>
              <a:gd name="T12" fmla="*/ 244 w 512"/>
              <a:gd name="T13" fmla="*/ 188 h 512"/>
              <a:gd name="T14" fmla="*/ 234 w 512"/>
              <a:gd name="T15" fmla="*/ 202 h 512"/>
              <a:gd name="T16" fmla="*/ 225 w 512"/>
              <a:gd name="T17" fmla="*/ 188 h 512"/>
              <a:gd name="T18" fmla="*/ 238 w 512"/>
              <a:gd name="T19" fmla="*/ 225 h 512"/>
              <a:gd name="T20" fmla="*/ 242 w 512"/>
              <a:gd name="T21" fmla="*/ 242 h 512"/>
              <a:gd name="T22" fmla="*/ 227 w 512"/>
              <a:gd name="T23" fmla="*/ 242 h 512"/>
              <a:gd name="T24" fmla="*/ 225 w 512"/>
              <a:gd name="T25" fmla="*/ 273 h 512"/>
              <a:gd name="T26" fmla="*/ 245 w 512"/>
              <a:gd name="T27" fmla="*/ 277 h 512"/>
              <a:gd name="T28" fmla="*/ 230 w 512"/>
              <a:gd name="T29" fmla="*/ 287 h 512"/>
              <a:gd name="T30" fmla="*/ 227 w 512"/>
              <a:gd name="T31" fmla="*/ 312 h 512"/>
              <a:gd name="T32" fmla="*/ 242 w 512"/>
              <a:gd name="T33" fmla="*/ 312 h 512"/>
              <a:gd name="T34" fmla="*/ 238 w 512"/>
              <a:gd name="T35" fmla="*/ 329 h 512"/>
              <a:gd name="T36" fmla="*/ 224 w 512"/>
              <a:gd name="T37" fmla="*/ 320 h 512"/>
              <a:gd name="T38" fmla="*/ 230 w 512"/>
              <a:gd name="T39" fmla="*/ 353 h 512"/>
              <a:gd name="T40" fmla="*/ 244 w 512"/>
              <a:gd name="T41" fmla="*/ 366 h 512"/>
              <a:gd name="T42" fmla="*/ 230 w 512"/>
              <a:gd name="T43" fmla="*/ 372 h 512"/>
              <a:gd name="T44" fmla="*/ 225 w 512"/>
              <a:gd name="T45" fmla="*/ 358 h 512"/>
              <a:gd name="T46" fmla="*/ 201 w 512"/>
              <a:gd name="T47" fmla="*/ 145 h 512"/>
              <a:gd name="T48" fmla="*/ 188 w 512"/>
              <a:gd name="T49" fmla="*/ 159 h 512"/>
              <a:gd name="T50" fmla="*/ 182 w 512"/>
              <a:gd name="T51" fmla="*/ 188 h 512"/>
              <a:gd name="T52" fmla="*/ 190 w 512"/>
              <a:gd name="T53" fmla="*/ 181 h 512"/>
              <a:gd name="T54" fmla="*/ 202 w 512"/>
              <a:gd name="T55" fmla="*/ 192 h 512"/>
              <a:gd name="T56" fmla="*/ 184 w 512"/>
              <a:gd name="T57" fmla="*/ 199 h 512"/>
              <a:gd name="T58" fmla="*/ 186 w 512"/>
              <a:gd name="T59" fmla="*/ 225 h 512"/>
              <a:gd name="T60" fmla="*/ 196 w 512"/>
              <a:gd name="T61" fmla="*/ 225 h 512"/>
              <a:gd name="T62" fmla="*/ 201 w 512"/>
              <a:gd name="T63" fmla="*/ 238 h 512"/>
              <a:gd name="T64" fmla="*/ 188 w 512"/>
              <a:gd name="T65" fmla="*/ 244 h 512"/>
              <a:gd name="T66" fmla="*/ 182 w 512"/>
              <a:gd name="T67" fmla="*/ 273 h 512"/>
              <a:gd name="T68" fmla="*/ 199 w 512"/>
              <a:gd name="T69" fmla="*/ 269 h 512"/>
              <a:gd name="T70" fmla="*/ 199 w 512"/>
              <a:gd name="T71" fmla="*/ 285 h 512"/>
              <a:gd name="T72" fmla="*/ 182 w 512"/>
              <a:gd name="T73" fmla="*/ 273 h 512"/>
              <a:gd name="T74" fmla="*/ 202 w 512"/>
              <a:gd name="T75" fmla="*/ 320 h 512"/>
              <a:gd name="T76" fmla="*/ 192 w 512"/>
              <a:gd name="T77" fmla="*/ 330 h 512"/>
              <a:gd name="T78" fmla="*/ 184 w 512"/>
              <a:gd name="T79" fmla="*/ 312 h 512"/>
              <a:gd name="T80" fmla="*/ 320 w 512"/>
              <a:gd name="T81" fmla="*/ 352 h 512"/>
              <a:gd name="T82" fmla="*/ 352 w 512"/>
              <a:gd name="T83" fmla="*/ 202 h 512"/>
              <a:gd name="T84" fmla="*/ 314 w 512"/>
              <a:gd name="T85" fmla="*/ 225 h 512"/>
              <a:gd name="T86" fmla="*/ 330 w 512"/>
              <a:gd name="T87" fmla="*/ 234 h 512"/>
              <a:gd name="T88" fmla="*/ 320 w 512"/>
              <a:gd name="T89" fmla="*/ 245 h 512"/>
              <a:gd name="T90" fmla="*/ 309 w 512"/>
              <a:gd name="T91" fmla="*/ 234 h 512"/>
              <a:gd name="T92" fmla="*/ 316 w 512"/>
              <a:gd name="T93" fmla="*/ 267 h 512"/>
              <a:gd name="T94" fmla="*/ 330 w 512"/>
              <a:gd name="T95" fmla="*/ 277 h 512"/>
              <a:gd name="T96" fmla="*/ 320 w 512"/>
              <a:gd name="T97" fmla="*/ 288 h 512"/>
              <a:gd name="T98" fmla="*/ 309 w 512"/>
              <a:gd name="T99" fmla="*/ 277 h 512"/>
              <a:gd name="T100" fmla="*/ 314 w 512"/>
              <a:gd name="T101" fmla="*/ 311 h 512"/>
              <a:gd name="T102" fmla="*/ 324 w 512"/>
              <a:gd name="T103" fmla="*/ 310 h 512"/>
              <a:gd name="T104" fmla="*/ 330 w 512"/>
              <a:gd name="T105" fmla="*/ 320 h 512"/>
              <a:gd name="T106" fmla="*/ 312 w 512"/>
              <a:gd name="T107" fmla="*/ 327 h 512"/>
              <a:gd name="T108" fmla="*/ 256 w 512"/>
              <a:gd name="T109" fmla="*/ 0 h 512"/>
              <a:gd name="T110" fmla="*/ 256 w 512"/>
              <a:gd name="T111" fmla="*/ 0 h 512"/>
              <a:gd name="T112" fmla="*/ 138 w 512"/>
              <a:gd name="T113" fmla="*/ 405 h 512"/>
              <a:gd name="T114" fmla="*/ 288 w 512"/>
              <a:gd name="T115" fmla="*/ 106 h 512"/>
              <a:gd name="T116" fmla="*/ 373 w 512"/>
              <a:gd name="T117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160" y="394"/>
                </a:moveTo>
                <a:cubicBezTo>
                  <a:pt x="181" y="394"/>
                  <a:pt x="181" y="394"/>
                  <a:pt x="181" y="394"/>
                </a:cubicBezTo>
                <a:cubicBezTo>
                  <a:pt x="181" y="362"/>
                  <a:pt x="181" y="362"/>
                  <a:pt x="181" y="362"/>
                </a:cubicBezTo>
                <a:cubicBezTo>
                  <a:pt x="181" y="356"/>
                  <a:pt x="186" y="352"/>
                  <a:pt x="192" y="352"/>
                </a:cubicBezTo>
                <a:cubicBezTo>
                  <a:pt x="198" y="352"/>
                  <a:pt x="202" y="356"/>
                  <a:pt x="202" y="362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160" y="117"/>
                  <a:pt x="160" y="117"/>
                  <a:pt x="160" y="117"/>
                </a:cubicBezTo>
                <a:lnTo>
                  <a:pt x="160" y="394"/>
                </a:lnTo>
                <a:close/>
                <a:moveTo>
                  <a:pt x="225" y="145"/>
                </a:moveTo>
                <a:cubicBezTo>
                  <a:pt x="225" y="144"/>
                  <a:pt x="226" y="142"/>
                  <a:pt x="227" y="141"/>
                </a:cubicBezTo>
                <a:cubicBezTo>
                  <a:pt x="230" y="138"/>
                  <a:pt x="235" y="137"/>
                  <a:pt x="238" y="139"/>
                </a:cubicBezTo>
                <a:cubicBezTo>
                  <a:pt x="240" y="140"/>
                  <a:pt x="241" y="140"/>
                  <a:pt x="242" y="141"/>
                </a:cubicBezTo>
                <a:cubicBezTo>
                  <a:pt x="243" y="142"/>
                  <a:pt x="244" y="144"/>
                  <a:pt x="244" y="145"/>
                </a:cubicBezTo>
                <a:cubicBezTo>
                  <a:pt x="245" y="146"/>
                  <a:pt x="245" y="148"/>
                  <a:pt x="245" y="149"/>
                </a:cubicBezTo>
                <a:cubicBezTo>
                  <a:pt x="245" y="150"/>
                  <a:pt x="245" y="152"/>
                  <a:pt x="244" y="153"/>
                </a:cubicBezTo>
                <a:cubicBezTo>
                  <a:pt x="244" y="154"/>
                  <a:pt x="243" y="155"/>
                  <a:pt x="242" y="157"/>
                </a:cubicBezTo>
                <a:cubicBezTo>
                  <a:pt x="241" y="158"/>
                  <a:pt x="240" y="158"/>
                  <a:pt x="238" y="159"/>
                </a:cubicBezTo>
                <a:cubicBezTo>
                  <a:pt x="237" y="159"/>
                  <a:pt x="236" y="160"/>
                  <a:pt x="234" y="160"/>
                </a:cubicBezTo>
                <a:cubicBezTo>
                  <a:pt x="231" y="160"/>
                  <a:pt x="229" y="159"/>
                  <a:pt x="227" y="157"/>
                </a:cubicBezTo>
                <a:cubicBezTo>
                  <a:pt x="225" y="155"/>
                  <a:pt x="224" y="152"/>
                  <a:pt x="224" y="149"/>
                </a:cubicBezTo>
                <a:cubicBezTo>
                  <a:pt x="224" y="148"/>
                  <a:pt x="224" y="146"/>
                  <a:pt x="225" y="145"/>
                </a:cubicBezTo>
                <a:close/>
                <a:moveTo>
                  <a:pt x="225" y="188"/>
                </a:moveTo>
                <a:cubicBezTo>
                  <a:pt x="225" y="186"/>
                  <a:pt x="226" y="185"/>
                  <a:pt x="227" y="184"/>
                </a:cubicBezTo>
                <a:cubicBezTo>
                  <a:pt x="228" y="183"/>
                  <a:pt x="229" y="182"/>
                  <a:pt x="230" y="182"/>
                </a:cubicBezTo>
                <a:cubicBezTo>
                  <a:pt x="234" y="180"/>
                  <a:pt x="239" y="181"/>
                  <a:pt x="242" y="184"/>
                </a:cubicBezTo>
                <a:cubicBezTo>
                  <a:pt x="243" y="185"/>
                  <a:pt x="244" y="186"/>
                  <a:pt x="244" y="188"/>
                </a:cubicBezTo>
                <a:cubicBezTo>
                  <a:pt x="245" y="189"/>
                  <a:pt x="245" y="190"/>
                  <a:pt x="245" y="192"/>
                </a:cubicBezTo>
                <a:cubicBezTo>
                  <a:pt x="245" y="195"/>
                  <a:pt x="244" y="197"/>
                  <a:pt x="242" y="199"/>
                </a:cubicBezTo>
                <a:cubicBezTo>
                  <a:pt x="241" y="200"/>
                  <a:pt x="240" y="201"/>
                  <a:pt x="238" y="201"/>
                </a:cubicBezTo>
                <a:cubicBezTo>
                  <a:pt x="237" y="202"/>
                  <a:pt x="236" y="202"/>
                  <a:pt x="234" y="202"/>
                </a:cubicBezTo>
                <a:cubicBezTo>
                  <a:pt x="233" y="202"/>
                  <a:pt x="232" y="202"/>
                  <a:pt x="230" y="201"/>
                </a:cubicBezTo>
                <a:cubicBezTo>
                  <a:pt x="229" y="201"/>
                  <a:pt x="228" y="200"/>
                  <a:pt x="227" y="199"/>
                </a:cubicBezTo>
                <a:cubicBezTo>
                  <a:pt x="225" y="197"/>
                  <a:pt x="224" y="195"/>
                  <a:pt x="224" y="192"/>
                </a:cubicBezTo>
                <a:cubicBezTo>
                  <a:pt x="224" y="190"/>
                  <a:pt x="224" y="189"/>
                  <a:pt x="225" y="188"/>
                </a:cubicBezTo>
                <a:close/>
                <a:moveTo>
                  <a:pt x="227" y="227"/>
                </a:moveTo>
                <a:cubicBezTo>
                  <a:pt x="228" y="226"/>
                  <a:pt x="229" y="225"/>
                  <a:pt x="230" y="225"/>
                </a:cubicBezTo>
                <a:cubicBezTo>
                  <a:pt x="232" y="224"/>
                  <a:pt x="234" y="223"/>
                  <a:pt x="236" y="224"/>
                </a:cubicBezTo>
                <a:cubicBezTo>
                  <a:pt x="237" y="224"/>
                  <a:pt x="238" y="224"/>
                  <a:pt x="238" y="225"/>
                </a:cubicBezTo>
                <a:cubicBezTo>
                  <a:pt x="239" y="225"/>
                  <a:pt x="240" y="225"/>
                  <a:pt x="240" y="225"/>
                </a:cubicBezTo>
                <a:cubicBezTo>
                  <a:pt x="241" y="226"/>
                  <a:pt x="241" y="226"/>
                  <a:pt x="242" y="227"/>
                </a:cubicBezTo>
                <a:cubicBezTo>
                  <a:pt x="244" y="229"/>
                  <a:pt x="245" y="232"/>
                  <a:pt x="245" y="234"/>
                </a:cubicBezTo>
                <a:cubicBezTo>
                  <a:pt x="245" y="237"/>
                  <a:pt x="244" y="240"/>
                  <a:pt x="242" y="242"/>
                </a:cubicBezTo>
                <a:cubicBezTo>
                  <a:pt x="241" y="243"/>
                  <a:pt x="240" y="244"/>
                  <a:pt x="238" y="244"/>
                </a:cubicBezTo>
                <a:cubicBezTo>
                  <a:pt x="237" y="245"/>
                  <a:pt x="236" y="245"/>
                  <a:pt x="234" y="245"/>
                </a:cubicBezTo>
                <a:cubicBezTo>
                  <a:pt x="233" y="245"/>
                  <a:pt x="232" y="245"/>
                  <a:pt x="230" y="244"/>
                </a:cubicBezTo>
                <a:cubicBezTo>
                  <a:pt x="229" y="244"/>
                  <a:pt x="228" y="243"/>
                  <a:pt x="227" y="242"/>
                </a:cubicBezTo>
                <a:cubicBezTo>
                  <a:pt x="226" y="241"/>
                  <a:pt x="225" y="240"/>
                  <a:pt x="225" y="238"/>
                </a:cubicBezTo>
                <a:cubicBezTo>
                  <a:pt x="224" y="237"/>
                  <a:pt x="224" y="236"/>
                  <a:pt x="224" y="234"/>
                </a:cubicBezTo>
                <a:cubicBezTo>
                  <a:pt x="224" y="232"/>
                  <a:pt x="225" y="229"/>
                  <a:pt x="227" y="227"/>
                </a:cubicBezTo>
                <a:close/>
                <a:moveTo>
                  <a:pt x="225" y="273"/>
                </a:moveTo>
                <a:cubicBezTo>
                  <a:pt x="225" y="272"/>
                  <a:pt x="226" y="270"/>
                  <a:pt x="227" y="269"/>
                </a:cubicBezTo>
                <a:cubicBezTo>
                  <a:pt x="231" y="265"/>
                  <a:pt x="238" y="265"/>
                  <a:pt x="242" y="269"/>
                </a:cubicBezTo>
                <a:cubicBezTo>
                  <a:pt x="243" y="270"/>
                  <a:pt x="244" y="272"/>
                  <a:pt x="244" y="273"/>
                </a:cubicBezTo>
                <a:cubicBezTo>
                  <a:pt x="245" y="274"/>
                  <a:pt x="245" y="276"/>
                  <a:pt x="245" y="277"/>
                </a:cubicBezTo>
                <a:cubicBezTo>
                  <a:pt x="245" y="278"/>
                  <a:pt x="245" y="280"/>
                  <a:pt x="244" y="281"/>
                </a:cubicBezTo>
                <a:cubicBezTo>
                  <a:pt x="244" y="282"/>
                  <a:pt x="243" y="284"/>
                  <a:pt x="242" y="285"/>
                </a:cubicBezTo>
                <a:cubicBezTo>
                  <a:pt x="240" y="287"/>
                  <a:pt x="237" y="288"/>
                  <a:pt x="234" y="288"/>
                </a:cubicBezTo>
                <a:cubicBezTo>
                  <a:pt x="233" y="288"/>
                  <a:pt x="232" y="287"/>
                  <a:pt x="230" y="287"/>
                </a:cubicBezTo>
                <a:cubicBezTo>
                  <a:pt x="229" y="286"/>
                  <a:pt x="228" y="286"/>
                  <a:pt x="227" y="285"/>
                </a:cubicBezTo>
                <a:cubicBezTo>
                  <a:pt x="225" y="283"/>
                  <a:pt x="224" y="280"/>
                  <a:pt x="224" y="277"/>
                </a:cubicBezTo>
                <a:cubicBezTo>
                  <a:pt x="224" y="276"/>
                  <a:pt x="224" y="274"/>
                  <a:pt x="225" y="273"/>
                </a:cubicBezTo>
                <a:close/>
                <a:moveTo>
                  <a:pt x="227" y="312"/>
                </a:moveTo>
                <a:cubicBezTo>
                  <a:pt x="227" y="312"/>
                  <a:pt x="228" y="311"/>
                  <a:pt x="228" y="311"/>
                </a:cubicBezTo>
                <a:cubicBezTo>
                  <a:pt x="229" y="310"/>
                  <a:pt x="230" y="310"/>
                  <a:pt x="230" y="310"/>
                </a:cubicBezTo>
                <a:cubicBezTo>
                  <a:pt x="231" y="310"/>
                  <a:pt x="232" y="309"/>
                  <a:pt x="232" y="309"/>
                </a:cubicBezTo>
                <a:cubicBezTo>
                  <a:pt x="236" y="308"/>
                  <a:pt x="239" y="310"/>
                  <a:pt x="242" y="312"/>
                </a:cubicBezTo>
                <a:cubicBezTo>
                  <a:pt x="244" y="314"/>
                  <a:pt x="245" y="317"/>
                  <a:pt x="245" y="320"/>
                </a:cubicBezTo>
                <a:cubicBezTo>
                  <a:pt x="245" y="321"/>
                  <a:pt x="245" y="322"/>
                  <a:pt x="244" y="324"/>
                </a:cubicBezTo>
                <a:cubicBezTo>
                  <a:pt x="244" y="325"/>
                  <a:pt x="243" y="326"/>
                  <a:pt x="242" y="327"/>
                </a:cubicBezTo>
                <a:cubicBezTo>
                  <a:pt x="241" y="328"/>
                  <a:pt x="240" y="329"/>
                  <a:pt x="238" y="329"/>
                </a:cubicBezTo>
                <a:cubicBezTo>
                  <a:pt x="237" y="330"/>
                  <a:pt x="236" y="330"/>
                  <a:pt x="234" y="330"/>
                </a:cubicBezTo>
                <a:cubicBezTo>
                  <a:pt x="231" y="330"/>
                  <a:pt x="229" y="329"/>
                  <a:pt x="227" y="327"/>
                </a:cubicBezTo>
                <a:cubicBezTo>
                  <a:pt x="226" y="326"/>
                  <a:pt x="225" y="325"/>
                  <a:pt x="225" y="324"/>
                </a:cubicBezTo>
                <a:cubicBezTo>
                  <a:pt x="224" y="322"/>
                  <a:pt x="224" y="321"/>
                  <a:pt x="224" y="320"/>
                </a:cubicBezTo>
                <a:cubicBezTo>
                  <a:pt x="224" y="317"/>
                  <a:pt x="225" y="314"/>
                  <a:pt x="227" y="312"/>
                </a:cubicBezTo>
                <a:close/>
                <a:moveTo>
                  <a:pt x="225" y="358"/>
                </a:moveTo>
                <a:cubicBezTo>
                  <a:pt x="225" y="357"/>
                  <a:pt x="226" y="356"/>
                  <a:pt x="227" y="355"/>
                </a:cubicBezTo>
                <a:cubicBezTo>
                  <a:pt x="228" y="354"/>
                  <a:pt x="229" y="353"/>
                  <a:pt x="230" y="353"/>
                </a:cubicBezTo>
                <a:cubicBezTo>
                  <a:pt x="234" y="351"/>
                  <a:pt x="239" y="352"/>
                  <a:pt x="242" y="355"/>
                </a:cubicBezTo>
                <a:cubicBezTo>
                  <a:pt x="243" y="356"/>
                  <a:pt x="244" y="357"/>
                  <a:pt x="244" y="358"/>
                </a:cubicBezTo>
                <a:cubicBezTo>
                  <a:pt x="245" y="360"/>
                  <a:pt x="245" y="361"/>
                  <a:pt x="245" y="362"/>
                </a:cubicBezTo>
                <a:cubicBezTo>
                  <a:pt x="245" y="364"/>
                  <a:pt x="245" y="365"/>
                  <a:pt x="244" y="366"/>
                </a:cubicBezTo>
                <a:cubicBezTo>
                  <a:pt x="244" y="368"/>
                  <a:pt x="243" y="369"/>
                  <a:pt x="242" y="370"/>
                </a:cubicBezTo>
                <a:cubicBezTo>
                  <a:pt x="241" y="371"/>
                  <a:pt x="240" y="372"/>
                  <a:pt x="238" y="372"/>
                </a:cubicBezTo>
                <a:cubicBezTo>
                  <a:pt x="237" y="373"/>
                  <a:pt x="236" y="373"/>
                  <a:pt x="234" y="373"/>
                </a:cubicBezTo>
                <a:cubicBezTo>
                  <a:pt x="233" y="373"/>
                  <a:pt x="232" y="373"/>
                  <a:pt x="230" y="372"/>
                </a:cubicBezTo>
                <a:cubicBezTo>
                  <a:pt x="229" y="372"/>
                  <a:pt x="228" y="371"/>
                  <a:pt x="227" y="370"/>
                </a:cubicBezTo>
                <a:cubicBezTo>
                  <a:pt x="226" y="369"/>
                  <a:pt x="225" y="368"/>
                  <a:pt x="225" y="366"/>
                </a:cubicBezTo>
                <a:cubicBezTo>
                  <a:pt x="224" y="365"/>
                  <a:pt x="224" y="364"/>
                  <a:pt x="224" y="362"/>
                </a:cubicBezTo>
                <a:cubicBezTo>
                  <a:pt x="224" y="361"/>
                  <a:pt x="224" y="360"/>
                  <a:pt x="225" y="358"/>
                </a:cubicBezTo>
                <a:close/>
                <a:moveTo>
                  <a:pt x="182" y="145"/>
                </a:moveTo>
                <a:cubicBezTo>
                  <a:pt x="182" y="144"/>
                  <a:pt x="183" y="142"/>
                  <a:pt x="184" y="141"/>
                </a:cubicBezTo>
                <a:cubicBezTo>
                  <a:pt x="188" y="137"/>
                  <a:pt x="195" y="137"/>
                  <a:pt x="199" y="141"/>
                </a:cubicBezTo>
                <a:cubicBezTo>
                  <a:pt x="200" y="142"/>
                  <a:pt x="201" y="144"/>
                  <a:pt x="201" y="145"/>
                </a:cubicBezTo>
                <a:cubicBezTo>
                  <a:pt x="202" y="146"/>
                  <a:pt x="202" y="148"/>
                  <a:pt x="202" y="149"/>
                </a:cubicBezTo>
                <a:cubicBezTo>
                  <a:pt x="202" y="152"/>
                  <a:pt x="201" y="155"/>
                  <a:pt x="199" y="157"/>
                </a:cubicBezTo>
                <a:cubicBezTo>
                  <a:pt x="197" y="159"/>
                  <a:pt x="195" y="160"/>
                  <a:pt x="192" y="160"/>
                </a:cubicBezTo>
                <a:cubicBezTo>
                  <a:pt x="190" y="160"/>
                  <a:pt x="189" y="159"/>
                  <a:pt x="188" y="159"/>
                </a:cubicBezTo>
                <a:cubicBezTo>
                  <a:pt x="186" y="158"/>
                  <a:pt x="185" y="158"/>
                  <a:pt x="184" y="157"/>
                </a:cubicBezTo>
                <a:cubicBezTo>
                  <a:pt x="182" y="155"/>
                  <a:pt x="181" y="152"/>
                  <a:pt x="181" y="149"/>
                </a:cubicBezTo>
                <a:cubicBezTo>
                  <a:pt x="181" y="148"/>
                  <a:pt x="181" y="146"/>
                  <a:pt x="182" y="145"/>
                </a:cubicBezTo>
                <a:close/>
                <a:moveTo>
                  <a:pt x="182" y="188"/>
                </a:moveTo>
                <a:cubicBezTo>
                  <a:pt x="182" y="186"/>
                  <a:pt x="183" y="185"/>
                  <a:pt x="184" y="184"/>
                </a:cubicBezTo>
                <a:cubicBezTo>
                  <a:pt x="185" y="184"/>
                  <a:pt x="185" y="183"/>
                  <a:pt x="186" y="183"/>
                </a:cubicBezTo>
                <a:cubicBezTo>
                  <a:pt x="186" y="182"/>
                  <a:pt x="187" y="182"/>
                  <a:pt x="188" y="182"/>
                </a:cubicBezTo>
                <a:cubicBezTo>
                  <a:pt x="188" y="182"/>
                  <a:pt x="189" y="181"/>
                  <a:pt x="190" y="181"/>
                </a:cubicBezTo>
                <a:cubicBezTo>
                  <a:pt x="192" y="181"/>
                  <a:pt x="194" y="181"/>
                  <a:pt x="196" y="182"/>
                </a:cubicBezTo>
                <a:cubicBezTo>
                  <a:pt x="197" y="182"/>
                  <a:pt x="198" y="183"/>
                  <a:pt x="199" y="184"/>
                </a:cubicBezTo>
                <a:cubicBezTo>
                  <a:pt x="200" y="185"/>
                  <a:pt x="201" y="186"/>
                  <a:pt x="201" y="188"/>
                </a:cubicBezTo>
                <a:cubicBezTo>
                  <a:pt x="202" y="189"/>
                  <a:pt x="202" y="190"/>
                  <a:pt x="202" y="192"/>
                </a:cubicBezTo>
                <a:cubicBezTo>
                  <a:pt x="202" y="195"/>
                  <a:pt x="201" y="197"/>
                  <a:pt x="199" y="199"/>
                </a:cubicBezTo>
                <a:cubicBezTo>
                  <a:pt x="197" y="201"/>
                  <a:pt x="195" y="202"/>
                  <a:pt x="192" y="202"/>
                </a:cubicBezTo>
                <a:cubicBezTo>
                  <a:pt x="190" y="202"/>
                  <a:pt x="189" y="202"/>
                  <a:pt x="188" y="201"/>
                </a:cubicBezTo>
                <a:cubicBezTo>
                  <a:pt x="186" y="201"/>
                  <a:pt x="185" y="200"/>
                  <a:pt x="184" y="199"/>
                </a:cubicBezTo>
                <a:cubicBezTo>
                  <a:pt x="182" y="197"/>
                  <a:pt x="181" y="195"/>
                  <a:pt x="181" y="192"/>
                </a:cubicBezTo>
                <a:cubicBezTo>
                  <a:pt x="181" y="190"/>
                  <a:pt x="181" y="189"/>
                  <a:pt x="182" y="188"/>
                </a:cubicBezTo>
                <a:close/>
                <a:moveTo>
                  <a:pt x="184" y="227"/>
                </a:moveTo>
                <a:cubicBezTo>
                  <a:pt x="185" y="226"/>
                  <a:pt x="185" y="226"/>
                  <a:pt x="186" y="225"/>
                </a:cubicBezTo>
                <a:cubicBezTo>
                  <a:pt x="186" y="225"/>
                  <a:pt x="187" y="225"/>
                  <a:pt x="188" y="225"/>
                </a:cubicBezTo>
                <a:cubicBezTo>
                  <a:pt x="188" y="224"/>
                  <a:pt x="189" y="224"/>
                  <a:pt x="190" y="224"/>
                </a:cubicBezTo>
                <a:cubicBezTo>
                  <a:pt x="191" y="224"/>
                  <a:pt x="192" y="224"/>
                  <a:pt x="194" y="224"/>
                </a:cubicBezTo>
                <a:cubicBezTo>
                  <a:pt x="194" y="224"/>
                  <a:pt x="195" y="224"/>
                  <a:pt x="196" y="225"/>
                </a:cubicBezTo>
                <a:cubicBezTo>
                  <a:pt x="196" y="225"/>
                  <a:pt x="197" y="225"/>
                  <a:pt x="198" y="225"/>
                </a:cubicBezTo>
                <a:cubicBezTo>
                  <a:pt x="198" y="226"/>
                  <a:pt x="199" y="226"/>
                  <a:pt x="199" y="227"/>
                </a:cubicBezTo>
                <a:cubicBezTo>
                  <a:pt x="201" y="229"/>
                  <a:pt x="202" y="232"/>
                  <a:pt x="202" y="234"/>
                </a:cubicBezTo>
                <a:cubicBezTo>
                  <a:pt x="202" y="236"/>
                  <a:pt x="202" y="237"/>
                  <a:pt x="201" y="238"/>
                </a:cubicBezTo>
                <a:cubicBezTo>
                  <a:pt x="201" y="240"/>
                  <a:pt x="200" y="241"/>
                  <a:pt x="199" y="242"/>
                </a:cubicBezTo>
                <a:cubicBezTo>
                  <a:pt x="198" y="243"/>
                  <a:pt x="197" y="244"/>
                  <a:pt x="196" y="244"/>
                </a:cubicBezTo>
                <a:cubicBezTo>
                  <a:pt x="194" y="245"/>
                  <a:pt x="193" y="245"/>
                  <a:pt x="192" y="245"/>
                </a:cubicBezTo>
                <a:cubicBezTo>
                  <a:pt x="190" y="245"/>
                  <a:pt x="189" y="245"/>
                  <a:pt x="188" y="244"/>
                </a:cubicBezTo>
                <a:cubicBezTo>
                  <a:pt x="186" y="244"/>
                  <a:pt x="185" y="243"/>
                  <a:pt x="184" y="242"/>
                </a:cubicBezTo>
                <a:cubicBezTo>
                  <a:pt x="182" y="240"/>
                  <a:pt x="181" y="237"/>
                  <a:pt x="181" y="234"/>
                </a:cubicBezTo>
                <a:cubicBezTo>
                  <a:pt x="181" y="232"/>
                  <a:pt x="182" y="229"/>
                  <a:pt x="184" y="227"/>
                </a:cubicBezTo>
                <a:close/>
                <a:moveTo>
                  <a:pt x="182" y="273"/>
                </a:moveTo>
                <a:cubicBezTo>
                  <a:pt x="182" y="272"/>
                  <a:pt x="183" y="270"/>
                  <a:pt x="184" y="269"/>
                </a:cubicBezTo>
                <a:cubicBezTo>
                  <a:pt x="185" y="268"/>
                  <a:pt x="186" y="268"/>
                  <a:pt x="188" y="267"/>
                </a:cubicBezTo>
                <a:cubicBezTo>
                  <a:pt x="190" y="266"/>
                  <a:pt x="193" y="266"/>
                  <a:pt x="196" y="267"/>
                </a:cubicBezTo>
                <a:cubicBezTo>
                  <a:pt x="197" y="268"/>
                  <a:pt x="198" y="268"/>
                  <a:pt x="199" y="269"/>
                </a:cubicBezTo>
                <a:cubicBezTo>
                  <a:pt x="200" y="270"/>
                  <a:pt x="201" y="272"/>
                  <a:pt x="201" y="273"/>
                </a:cubicBezTo>
                <a:cubicBezTo>
                  <a:pt x="202" y="274"/>
                  <a:pt x="202" y="276"/>
                  <a:pt x="202" y="277"/>
                </a:cubicBezTo>
                <a:cubicBezTo>
                  <a:pt x="202" y="278"/>
                  <a:pt x="202" y="280"/>
                  <a:pt x="201" y="281"/>
                </a:cubicBezTo>
                <a:cubicBezTo>
                  <a:pt x="201" y="282"/>
                  <a:pt x="200" y="284"/>
                  <a:pt x="199" y="285"/>
                </a:cubicBezTo>
                <a:cubicBezTo>
                  <a:pt x="197" y="287"/>
                  <a:pt x="195" y="288"/>
                  <a:pt x="192" y="288"/>
                </a:cubicBezTo>
                <a:cubicBezTo>
                  <a:pt x="189" y="288"/>
                  <a:pt x="186" y="287"/>
                  <a:pt x="184" y="285"/>
                </a:cubicBezTo>
                <a:cubicBezTo>
                  <a:pt x="182" y="283"/>
                  <a:pt x="181" y="280"/>
                  <a:pt x="181" y="277"/>
                </a:cubicBezTo>
                <a:cubicBezTo>
                  <a:pt x="181" y="276"/>
                  <a:pt x="181" y="274"/>
                  <a:pt x="182" y="273"/>
                </a:cubicBezTo>
                <a:close/>
                <a:moveTo>
                  <a:pt x="184" y="312"/>
                </a:moveTo>
                <a:cubicBezTo>
                  <a:pt x="187" y="309"/>
                  <a:pt x="192" y="308"/>
                  <a:pt x="196" y="310"/>
                </a:cubicBezTo>
                <a:cubicBezTo>
                  <a:pt x="197" y="310"/>
                  <a:pt x="198" y="311"/>
                  <a:pt x="199" y="312"/>
                </a:cubicBezTo>
                <a:cubicBezTo>
                  <a:pt x="201" y="314"/>
                  <a:pt x="202" y="317"/>
                  <a:pt x="202" y="320"/>
                </a:cubicBezTo>
                <a:cubicBezTo>
                  <a:pt x="202" y="321"/>
                  <a:pt x="202" y="322"/>
                  <a:pt x="201" y="324"/>
                </a:cubicBezTo>
                <a:cubicBezTo>
                  <a:pt x="201" y="325"/>
                  <a:pt x="200" y="326"/>
                  <a:pt x="199" y="327"/>
                </a:cubicBezTo>
                <a:cubicBezTo>
                  <a:pt x="198" y="328"/>
                  <a:pt x="197" y="329"/>
                  <a:pt x="196" y="329"/>
                </a:cubicBezTo>
                <a:cubicBezTo>
                  <a:pt x="194" y="330"/>
                  <a:pt x="193" y="330"/>
                  <a:pt x="192" y="330"/>
                </a:cubicBezTo>
                <a:cubicBezTo>
                  <a:pt x="189" y="330"/>
                  <a:pt x="186" y="329"/>
                  <a:pt x="184" y="327"/>
                </a:cubicBezTo>
                <a:cubicBezTo>
                  <a:pt x="183" y="326"/>
                  <a:pt x="182" y="325"/>
                  <a:pt x="182" y="324"/>
                </a:cubicBezTo>
                <a:cubicBezTo>
                  <a:pt x="181" y="322"/>
                  <a:pt x="181" y="321"/>
                  <a:pt x="181" y="320"/>
                </a:cubicBezTo>
                <a:cubicBezTo>
                  <a:pt x="181" y="317"/>
                  <a:pt x="182" y="314"/>
                  <a:pt x="184" y="312"/>
                </a:cubicBezTo>
                <a:close/>
                <a:moveTo>
                  <a:pt x="288" y="394"/>
                </a:moveTo>
                <a:cubicBezTo>
                  <a:pt x="309" y="394"/>
                  <a:pt x="309" y="394"/>
                  <a:pt x="309" y="394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356"/>
                  <a:pt x="314" y="352"/>
                  <a:pt x="320" y="352"/>
                </a:cubicBezTo>
                <a:cubicBezTo>
                  <a:pt x="326" y="352"/>
                  <a:pt x="330" y="356"/>
                  <a:pt x="330" y="362"/>
                </a:cubicBezTo>
                <a:cubicBezTo>
                  <a:pt x="330" y="394"/>
                  <a:pt x="330" y="394"/>
                  <a:pt x="330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288" y="202"/>
                  <a:pt x="288" y="202"/>
                  <a:pt x="288" y="202"/>
                </a:cubicBezTo>
                <a:lnTo>
                  <a:pt x="288" y="394"/>
                </a:lnTo>
                <a:close/>
                <a:moveTo>
                  <a:pt x="312" y="227"/>
                </a:moveTo>
                <a:cubicBezTo>
                  <a:pt x="313" y="226"/>
                  <a:pt x="313" y="226"/>
                  <a:pt x="314" y="225"/>
                </a:cubicBezTo>
                <a:cubicBezTo>
                  <a:pt x="314" y="225"/>
                  <a:pt x="315" y="225"/>
                  <a:pt x="316" y="225"/>
                </a:cubicBezTo>
                <a:cubicBezTo>
                  <a:pt x="316" y="224"/>
                  <a:pt x="317" y="224"/>
                  <a:pt x="318" y="224"/>
                </a:cubicBezTo>
                <a:cubicBezTo>
                  <a:pt x="321" y="223"/>
                  <a:pt x="325" y="224"/>
                  <a:pt x="327" y="227"/>
                </a:cubicBezTo>
                <a:cubicBezTo>
                  <a:pt x="329" y="229"/>
                  <a:pt x="330" y="232"/>
                  <a:pt x="330" y="234"/>
                </a:cubicBezTo>
                <a:cubicBezTo>
                  <a:pt x="330" y="236"/>
                  <a:pt x="330" y="237"/>
                  <a:pt x="329" y="238"/>
                </a:cubicBezTo>
                <a:cubicBezTo>
                  <a:pt x="329" y="240"/>
                  <a:pt x="328" y="241"/>
                  <a:pt x="327" y="242"/>
                </a:cubicBezTo>
                <a:cubicBezTo>
                  <a:pt x="326" y="243"/>
                  <a:pt x="325" y="244"/>
                  <a:pt x="324" y="244"/>
                </a:cubicBezTo>
                <a:cubicBezTo>
                  <a:pt x="322" y="245"/>
                  <a:pt x="321" y="245"/>
                  <a:pt x="320" y="245"/>
                </a:cubicBezTo>
                <a:cubicBezTo>
                  <a:pt x="318" y="245"/>
                  <a:pt x="317" y="245"/>
                  <a:pt x="316" y="244"/>
                </a:cubicBezTo>
                <a:cubicBezTo>
                  <a:pt x="314" y="244"/>
                  <a:pt x="313" y="243"/>
                  <a:pt x="312" y="242"/>
                </a:cubicBezTo>
                <a:cubicBezTo>
                  <a:pt x="311" y="241"/>
                  <a:pt x="310" y="240"/>
                  <a:pt x="310" y="238"/>
                </a:cubicBezTo>
                <a:cubicBezTo>
                  <a:pt x="309" y="237"/>
                  <a:pt x="309" y="236"/>
                  <a:pt x="309" y="234"/>
                </a:cubicBezTo>
                <a:cubicBezTo>
                  <a:pt x="309" y="232"/>
                  <a:pt x="310" y="229"/>
                  <a:pt x="312" y="227"/>
                </a:cubicBezTo>
                <a:close/>
                <a:moveTo>
                  <a:pt x="310" y="273"/>
                </a:moveTo>
                <a:cubicBezTo>
                  <a:pt x="310" y="272"/>
                  <a:pt x="311" y="270"/>
                  <a:pt x="312" y="269"/>
                </a:cubicBezTo>
                <a:cubicBezTo>
                  <a:pt x="313" y="268"/>
                  <a:pt x="314" y="268"/>
                  <a:pt x="316" y="267"/>
                </a:cubicBezTo>
                <a:cubicBezTo>
                  <a:pt x="318" y="266"/>
                  <a:pt x="321" y="266"/>
                  <a:pt x="324" y="267"/>
                </a:cubicBezTo>
                <a:cubicBezTo>
                  <a:pt x="325" y="268"/>
                  <a:pt x="326" y="268"/>
                  <a:pt x="327" y="269"/>
                </a:cubicBezTo>
                <a:cubicBezTo>
                  <a:pt x="328" y="270"/>
                  <a:pt x="329" y="272"/>
                  <a:pt x="329" y="273"/>
                </a:cubicBezTo>
                <a:cubicBezTo>
                  <a:pt x="330" y="274"/>
                  <a:pt x="330" y="276"/>
                  <a:pt x="330" y="277"/>
                </a:cubicBezTo>
                <a:cubicBezTo>
                  <a:pt x="330" y="278"/>
                  <a:pt x="330" y="280"/>
                  <a:pt x="329" y="281"/>
                </a:cubicBezTo>
                <a:cubicBezTo>
                  <a:pt x="329" y="282"/>
                  <a:pt x="328" y="284"/>
                  <a:pt x="327" y="285"/>
                </a:cubicBezTo>
                <a:cubicBezTo>
                  <a:pt x="326" y="286"/>
                  <a:pt x="325" y="286"/>
                  <a:pt x="324" y="287"/>
                </a:cubicBezTo>
                <a:cubicBezTo>
                  <a:pt x="322" y="287"/>
                  <a:pt x="321" y="288"/>
                  <a:pt x="320" y="288"/>
                </a:cubicBezTo>
                <a:cubicBezTo>
                  <a:pt x="318" y="288"/>
                  <a:pt x="317" y="287"/>
                  <a:pt x="316" y="287"/>
                </a:cubicBezTo>
                <a:cubicBezTo>
                  <a:pt x="314" y="286"/>
                  <a:pt x="313" y="286"/>
                  <a:pt x="312" y="285"/>
                </a:cubicBezTo>
                <a:cubicBezTo>
                  <a:pt x="311" y="284"/>
                  <a:pt x="310" y="282"/>
                  <a:pt x="310" y="281"/>
                </a:cubicBezTo>
                <a:cubicBezTo>
                  <a:pt x="309" y="280"/>
                  <a:pt x="309" y="278"/>
                  <a:pt x="309" y="277"/>
                </a:cubicBezTo>
                <a:cubicBezTo>
                  <a:pt x="309" y="276"/>
                  <a:pt x="309" y="274"/>
                  <a:pt x="310" y="273"/>
                </a:cubicBezTo>
                <a:close/>
                <a:moveTo>
                  <a:pt x="310" y="316"/>
                </a:moveTo>
                <a:cubicBezTo>
                  <a:pt x="310" y="314"/>
                  <a:pt x="311" y="313"/>
                  <a:pt x="312" y="312"/>
                </a:cubicBezTo>
                <a:cubicBezTo>
                  <a:pt x="313" y="312"/>
                  <a:pt x="313" y="311"/>
                  <a:pt x="314" y="311"/>
                </a:cubicBezTo>
                <a:cubicBezTo>
                  <a:pt x="314" y="310"/>
                  <a:pt x="315" y="310"/>
                  <a:pt x="316" y="310"/>
                </a:cubicBezTo>
                <a:cubicBezTo>
                  <a:pt x="316" y="310"/>
                  <a:pt x="317" y="309"/>
                  <a:pt x="318" y="309"/>
                </a:cubicBezTo>
                <a:cubicBezTo>
                  <a:pt x="319" y="309"/>
                  <a:pt x="320" y="309"/>
                  <a:pt x="322" y="309"/>
                </a:cubicBezTo>
                <a:cubicBezTo>
                  <a:pt x="322" y="309"/>
                  <a:pt x="323" y="310"/>
                  <a:pt x="324" y="310"/>
                </a:cubicBezTo>
                <a:cubicBezTo>
                  <a:pt x="324" y="310"/>
                  <a:pt x="325" y="310"/>
                  <a:pt x="326" y="311"/>
                </a:cubicBezTo>
                <a:cubicBezTo>
                  <a:pt x="326" y="311"/>
                  <a:pt x="327" y="312"/>
                  <a:pt x="327" y="312"/>
                </a:cubicBezTo>
                <a:cubicBezTo>
                  <a:pt x="328" y="313"/>
                  <a:pt x="329" y="314"/>
                  <a:pt x="329" y="316"/>
                </a:cubicBezTo>
                <a:cubicBezTo>
                  <a:pt x="330" y="317"/>
                  <a:pt x="330" y="318"/>
                  <a:pt x="330" y="320"/>
                </a:cubicBezTo>
                <a:cubicBezTo>
                  <a:pt x="330" y="321"/>
                  <a:pt x="330" y="322"/>
                  <a:pt x="329" y="324"/>
                </a:cubicBezTo>
                <a:cubicBezTo>
                  <a:pt x="329" y="325"/>
                  <a:pt x="328" y="326"/>
                  <a:pt x="327" y="327"/>
                </a:cubicBezTo>
                <a:cubicBezTo>
                  <a:pt x="325" y="329"/>
                  <a:pt x="322" y="330"/>
                  <a:pt x="320" y="330"/>
                </a:cubicBezTo>
                <a:cubicBezTo>
                  <a:pt x="317" y="330"/>
                  <a:pt x="314" y="329"/>
                  <a:pt x="312" y="327"/>
                </a:cubicBezTo>
                <a:cubicBezTo>
                  <a:pt x="311" y="326"/>
                  <a:pt x="310" y="325"/>
                  <a:pt x="310" y="324"/>
                </a:cubicBezTo>
                <a:cubicBezTo>
                  <a:pt x="309" y="322"/>
                  <a:pt x="309" y="321"/>
                  <a:pt x="309" y="320"/>
                </a:cubicBezTo>
                <a:cubicBezTo>
                  <a:pt x="309" y="318"/>
                  <a:pt x="309" y="317"/>
                  <a:pt x="310" y="31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06"/>
                  <a:pt x="138" y="106"/>
                  <a:pt x="138" y="106"/>
                </a:cubicBezTo>
                <a:cubicBezTo>
                  <a:pt x="138" y="100"/>
                  <a:pt x="143" y="96"/>
                  <a:pt x="149" y="96"/>
                </a:cubicBezTo>
                <a:cubicBezTo>
                  <a:pt x="277" y="96"/>
                  <a:pt x="277" y="96"/>
                  <a:pt x="277" y="96"/>
                </a:cubicBezTo>
                <a:cubicBezTo>
                  <a:pt x="283" y="96"/>
                  <a:pt x="288" y="100"/>
                  <a:pt x="288" y="106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362" y="181"/>
                  <a:pt x="362" y="181"/>
                  <a:pt x="362" y="181"/>
                </a:cubicBezTo>
                <a:cubicBezTo>
                  <a:pt x="368" y="181"/>
                  <a:pt x="373" y="186"/>
                  <a:pt x="373" y="192"/>
                </a:cubicBezTo>
                <a:lnTo>
                  <a:pt x="373" y="4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9" name="Group 447"/>
          <p:cNvGrpSpPr>
            <a:grpSpLocks noChangeAspect="1"/>
          </p:cNvGrpSpPr>
          <p:nvPr/>
        </p:nvGrpSpPr>
        <p:grpSpPr bwMode="auto">
          <a:xfrm>
            <a:off x="1052126" y="4750623"/>
            <a:ext cx="367041" cy="367040"/>
            <a:chOff x="5601" y="1820"/>
            <a:chExt cx="340" cy="340"/>
          </a:xfrm>
          <a:solidFill>
            <a:schemeClr val="bg1"/>
          </a:solidFill>
        </p:grpSpPr>
        <p:sp>
          <p:nvSpPr>
            <p:cNvPr id="60" name="Freeform 448"/>
            <p:cNvSpPr>
              <a:spLocks noEditPoints="1"/>
            </p:cNvSpPr>
            <p:nvPr/>
          </p:nvSpPr>
          <p:spPr bwMode="auto">
            <a:xfrm>
              <a:off x="5679" y="1948"/>
              <a:ext cx="182" cy="85"/>
            </a:xfrm>
            <a:custGeom>
              <a:avLst/>
              <a:gdLst>
                <a:gd name="T0" fmla="*/ 131 w 275"/>
                <a:gd name="T1" fmla="*/ 43 h 128"/>
                <a:gd name="T2" fmla="*/ 122 w 275"/>
                <a:gd name="T3" fmla="*/ 37 h 128"/>
                <a:gd name="T4" fmla="*/ 64 w 275"/>
                <a:gd name="T5" fmla="*/ 0 h 128"/>
                <a:gd name="T6" fmla="*/ 0 w 275"/>
                <a:gd name="T7" fmla="*/ 64 h 128"/>
                <a:gd name="T8" fmla="*/ 64 w 275"/>
                <a:gd name="T9" fmla="*/ 128 h 128"/>
                <a:gd name="T10" fmla="*/ 122 w 275"/>
                <a:gd name="T11" fmla="*/ 92 h 128"/>
                <a:gd name="T12" fmla="*/ 131 w 275"/>
                <a:gd name="T13" fmla="*/ 86 h 128"/>
                <a:gd name="T14" fmla="*/ 177 w 275"/>
                <a:gd name="T15" fmla="*/ 86 h 128"/>
                <a:gd name="T16" fmla="*/ 195 w 275"/>
                <a:gd name="T17" fmla="*/ 67 h 128"/>
                <a:gd name="T18" fmla="*/ 210 w 275"/>
                <a:gd name="T19" fmla="*/ 67 h 128"/>
                <a:gd name="T20" fmla="*/ 224 w 275"/>
                <a:gd name="T21" fmla="*/ 81 h 128"/>
                <a:gd name="T22" fmla="*/ 238 w 275"/>
                <a:gd name="T23" fmla="*/ 67 h 128"/>
                <a:gd name="T24" fmla="*/ 253 w 275"/>
                <a:gd name="T25" fmla="*/ 67 h 128"/>
                <a:gd name="T26" fmla="*/ 265 w 275"/>
                <a:gd name="T27" fmla="*/ 79 h 128"/>
                <a:gd name="T28" fmla="*/ 275 w 275"/>
                <a:gd name="T29" fmla="*/ 64 h 128"/>
                <a:gd name="T30" fmla="*/ 261 w 275"/>
                <a:gd name="T31" fmla="*/ 43 h 128"/>
                <a:gd name="T32" fmla="*/ 131 w 275"/>
                <a:gd name="T33" fmla="*/ 43 h 128"/>
                <a:gd name="T34" fmla="*/ 53 w 275"/>
                <a:gd name="T35" fmla="*/ 85 h 128"/>
                <a:gd name="T36" fmla="*/ 32 w 275"/>
                <a:gd name="T37" fmla="*/ 64 h 128"/>
                <a:gd name="T38" fmla="*/ 53 w 275"/>
                <a:gd name="T39" fmla="*/ 43 h 128"/>
                <a:gd name="T40" fmla="*/ 75 w 275"/>
                <a:gd name="T41" fmla="*/ 64 h 128"/>
                <a:gd name="T42" fmla="*/ 53 w 275"/>
                <a:gd name="T43" fmla="*/ 8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5" h="128">
                  <a:moveTo>
                    <a:pt x="131" y="43"/>
                  </a:moveTo>
                  <a:cubicBezTo>
                    <a:pt x="127" y="43"/>
                    <a:pt x="124" y="41"/>
                    <a:pt x="122" y="37"/>
                  </a:cubicBezTo>
                  <a:cubicBezTo>
                    <a:pt x="111" y="15"/>
                    <a:pt x="89" y="0"/>
                    <a:pt x="64" y="0"/>
                  </a:cubicBez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89" y="128"/>
                    <a:pt x="111" y="114"/>
                    <a:pt x="122" y="92"/>
                  </a:cubicBezTo>
                  <a:cubicBezTo>
                    <a:pt x="124" y="88"/>
                    <a:pt x="127" y="86"/>
                    <a:pt x="131" y="86"/>
                  </a:cubicBezTo>
                  <a:cubicBezTo>
                    <a:pt x="177" y="86"/>
                    <a:pt x="177" y="86"/>
                    <a:pt x="177" y="86"/>
                  </a:cubicBezTo>
                  <a:cubicBezTo>
                    <a:pt x="195" y="67"/>
                    <a:pt x="195" y="67"/>
                    <a:pt x="195" y="67"/>
                  </a:cubicBezTo>
                  <a:cubicBezTo>
                    <a:pt x="199" y="63"/>
                    <a:pt x="206" y="63"/>
                    <a:pt x="210" y="67"/>
                  </a:cubicBezTo>
                  <a:cubicBezTo>
                    <a:pt x="224" y="81"/>
                    <a:pt x="224" y="81"/>
                    <a:pt x="224" y="81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42" y="63"/>
                    <a:pt x="249" y="63"/>
                    <a:pt x="253" y="67"/>
                  </a:cubicBezTo>
                  <a:cubicBezTo>
                    <a:pt x="265" y="79"/>
                    <a:pt x="265" y="79"/>
                    <a:pt x="265" y="79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261" y="43"/>
                    <a:pt x="261" y="43"/>
                    <a:pt x="261" y="43"/>
                  </a:cubicBezTo>
                  <a:lnTo>
                    <a:pt x="131" y="43"/>
                  </a:lnTo>
                  <a:close/>
                  <a:moveTo>
                    <a:pt x="53" y="85"/>
                  </a:moveTo>
                  <a:cubicBezTo>
                    <a:pt x="42" y="85"/>
                    <a:pt x="32" y="76"/>
                    <a:pt x="32" y="64"/>
                  </a:cubicBezTo>
                  <a:cubicBezTo>
                    <a:pt x="32" y="52"/>
                    <a:pt x="42" y="43"/>
                    <a:pt x="53" y="43"/>
                  </a:cubicBezTo>
                  <a:cubicBezTo>
                    <a:pt x="65" y="43"/>
                    <a:pt x="75" y="52"/>
                    <a:pt x="75" y="64"/>
                  </a:cubicBezTo>
                  <a:cubicBezTo>
                    <a:pt x="75" y="76"/>
                    <a:pt x="65" y="85"/>
                    <a:pt x="5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49"/>
            <p:cNvSpPr>
              <a:spLocks noEditPoints="1"/>
            </p:cNvSpPr>
            <p:nvPr/>
          </p:nvSpPr>
          <p:spPr bwMode="auto">
            <a:xfrm>
              <a:off x="5601" y="182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4 w 512"/>
                <a:gd name="T11" fmla="*/ 262 h 512"/>
                <a:gd name="T12" fmla="*/ 393 w 512"/>
                <a:gd name="T13" fmla="*/ 294 h 512"/>
                <a:gd name="T14" fmla="*/ 385 w 512"/>
                <a:gd name="T15" fmla="*/ 299 h 512"/>
                <a:gd name="T16" fmla="*/ 376 w 512"/>
                <a:gd name="T17" fmla="*/ 296 h 512"/>
                <a:gd name="T18" fmla="*/ 362 w 512"/>
                <a:gd name="T19" fmla="*/ 282 h 512"/>
                <a:gd name="T20" fmla="*/ 349 w 512"/>
                <a:gd name="T21" fmla="*/ 296 h 512"/>
                <a:gd name="T22" fmla="*/ 333 w 512"/>
                <a:gd name="T23" fmla="*/ 296 h 512"/>
                <a:gd name="T24" fmla="*/ 320 w 512"/>
                <a:gd name="T25" fmla="*/ 282 h 512"/>
                <a:gd name="T26" fmla="*/ 306 w 512"/>
                <a:gd name="T27" fmla="*/ 296 h 512"/>
                <a:gd name="T28" fmla="*/ 298 w 512"/>
                <a:gd name="T29" fmla="*/ 299 h 512"/>
                <a:gd name="T30" fmla="*/ 255 w 512"/>
                <a:gd name="T31" fmla="*/ 299 h 512"/>
                <a:gd name="T32" fmla="*/ 181 w 512"/>
                <a:gd name="T33" fmla="*/ 342 h 512"/>
                <a:gd name="T34" fmla="*/ 96 w 512"/>
                <a:gd name="T35" fmla="*/ 256 h 512"/>
                <a:gd name="T36" fmla="*/ 181 w 512"/>
                <a:gd name="T37" fmla="*/ 171 h 512"/>
                <a:gd name="T38" fmla="*/ 255 w 512"/>
                <a:gd name="T39" fmla="*/ 214 h 512"/>
                <a:gd name="T40" fmla="*/ 384 w 512"/>
                <a:gd name="T41" fmla="*/ 214 h 512"/>
                <a:gd name="T42" fmla="*/ 393 w 512"/>
                <a:gd name="T43" fmla="*/ 218 h 512"/>
                <a:gd name="T44" fmla="*/ 414 w 512"/>
                <a:gd name="T45" fmla="*/ 250 h 512"/>
                <a:gd name="T46" fmla="*/ 414 w 512"/>
                <a:gd name="T47" fmla="*/ 2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4" y="262"/>
                  </a:moveTo>
                  <a:cubicBezTo>
                    <a:pt x="393" y="294"/>
                    <a:pt x="393" y="294"/>
                    <a:pt x="393" y="294"/>
                  </a:cubicBezTo>
                  <a:cubicBezTo>
                    <a:pt x="391" y="297"/>
                    <a:pt x="388" y="298"/>
                    <a:pt x="385" y="299"/>
                  </a:cubicBezTo>
                  <a:cubicBezTo>
                    <a:pt x="381" y="299"/>
                    <a:pt x="378" y="298"/>
                    <a:pt x="376" y="296"/>
                  </a:cubicBezTo>
                  <a:cubicBezTo>
                    <a:pt x="362" y="282"/>
                    <a:pt x="362" y="282"/>
                    <a:pt x="362" y="282"/>
                  </a:cubicBezTo>
                  <a:cubicBezTo>
                    <a:pt x="349" y="296"/>
                    <a:pt x="349" y="296"/>
                    <a:pt x="349" y="296"/>
                  </a:cubicBezTo>
                  <a:cubicBezTo>
                    <a:pt x="344" y="300"/>
                    <a:pt x="338" y="300"/>
                    <a:pt x="333" y="296"/>
                  </a:cubicBezTo>
                  <a:cubicBezTo>
                    <a:pt x="320" y="282"/>
                    <a:pt x="320" y="282"/>
                    <a:pt x="320" y="282"/>
                  </a:cubicBezTo>
                  <a:cubicBezTo>
                    <a:pt x="306" y="296"/>
                    <a:pt x="306" y="296"/>
                    <a:pt x="306" y="296"/>
                  </a:cubicBezTo>
                  <a:cubicBezTo>
                    <a:pt x="304" y="298"/>
                    <a:pt x="301" y="299"/>
                    <a:pt x="298" y="299"/>
                  </a:cubicBezTo>
                  <a:cubicBezTo>
                    <a:pt x="255" y="299"/>
                    <a:pt x="255" y="299"/>
                    <a:pt x="255" y="299"/>
                  </a:cubicBezTo>
                  <a:cubicBezTo>
                    <a:pt x="240" y="325"/>
                    <a:pt x="211" y="342"/>
                    <a:pt x="181" y="342"/>
                  </a:cubicBezTo>
                  <a:cubicBezTo>
                    <a:pt x="134" y="342"/>
                    <a:pt x="96" y="303"/>
                    <a:pt x="96" y="256"/>
                  </a:cubicBezTo>
                  <a:cubicBezTo>
                    <a:pt x="96" y="209"/>
                    <a:pt x="134" y="171"/>
                    <a:pt x="181" y="171"/>
                  </a:cubicBezTo>
                  <a:cubicBezTo>
                    <a:pt x="211" y="171"/>
                    <a:pt x="240" y="187"/>
                    <a:pt x="255" y="214"/>
                  </a:cubicBezTo>
                  <a:cubicBezTo>
                    <a:pt x="384" y="214"/>
                    <a:pt x="384" y="214"/>
                    <a:pt x="384" y="214"/>
                  </a:cubicBezTo>
                  <a:cubicBezTo>
                    <a:pt x="387" y="214"/>
                    <a:pt x="391" y="215"/>
                    <a:pt x="393" y="218"/>
                  </a:cubicBezTo>
                  <a:cubicBezTo>
                    <a:pt x="414" y="250"/>
                    <a:pt x="414" y="250"/>
                    <a:pt x="414" y="250"/>
                  </a:cubicBezTo>
                  <a:cubicBezTo>
                    <a:pt x="416" y="254"/>
                    <a:pt x="416" y="258"/>
                    <a:pt x="414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2E731BF-E018-4637-468D-5FBCC4731B67}"/>
              </a:ext>
            </a:extLst>
          </p:cNvPr>
          <p:cNvSpPr/>
          <p:nvPr/>
        </p:nvSpPr>
        <p:spPr>
          <a:xfrm>
            <a:off x="1526491" y="4702958"/>
            <a:ext cx="1493993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Numbers Movie Budget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3EBD394-E7AC-AE06-96D5-69ADB14AAD0C}"/>
              </a:ext>
            </a:extLst>
          </p:cNvPr>
          <p:cNvSpPr/>
          <p:nvPr/>
        </p:nvSpPr>
        <p:spPr>
          <a:xfrm>
            <a:off x="6556673" y="2116420"/>
            <a:ext cx="1836314" cy="861774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 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Director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W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ter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Movie basic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C14EB3-2122-5B44-8FBA-E2D2CA2C0DF7}"/>
              </a:ext>
            </a:extLst>
          </p:cNvPr>
          <p:cNvSpPr/>
          <p:nvPr/>
        </p:nvSpPr>
        <p:spPr>
          <a:xfrm>
            <a:off x="8654613" y="2119682"/>
            <a:ext cx="2247848" cy="64633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>
              <a:solidFill>
                <a:prstClr val="black"/>
              </a:solidFill>
              <a:latin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prstClr val="black"/>
                </a:solidFill>
                <a:latin typeface="Calibri"/>
              </a:rPr>
              <a:t>Movie rating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vie aka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94FCD8-3DC3-0A7B-7855-934CB6D6C34A}"/>
              </a:ext>
            </a:extLst>
          </p:cNvPr>
          <p:cNvSpPr/>
          <p:nvPr/>
        </p:nvSpPr>
        <p:spPr>
          <a:xfrm>
            <a:off x="4335706" y="3439502"/>
            <a:ext cx="2541134" cy="86177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</a:rPr>
              <a:t>CSV file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</a:rPr>
              <a:t>Genre</a:t>
            </a:r>
            <a:endParaRPr lang="en-US" sz="1400" b="1">
              <a:solidFill>
                <a:srgbClr val="FFFFFF"/>
              </a:solidFill>
              <a:latin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</a:rPr>
              <a:t>Movie title</a:t>
            </a: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</a:rPr>
              <a:t>Popularity</a:t>
            </a:r>
            <a:endParaRPr lang="en-US" sz="1400" b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2BC67C-6395-F054-F08D-9447D27C482B}"/>
              </a:ext>
            </a:extLst>
          </p:cNvPr>
          <p:cNvSpPr/>
          <p:nvPr/>
        </p:nvSpPr>
        <p:spPr>
          <a:xfrm>
            <a:off x="4335706" y="4814231"/>
            <a:ext cx="3729854" cy="86177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>
                <a:latin typeface="Calibri"/>
              </a:rPr>
              <a:t>CSV file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latin typeface="Calibri"/>
              </a:rPr>
              <a:t>Movie title</a:t>
            </a:r>
            <a:endParaRPr lang="en-US" sz="1400" b="1">
              <a:latin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Production Budget</a:t>
            </a:r>
            <a:endParaRPr lang="en-US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latin typeface="Calibri"/>
              </a:rPr>
              <a:t>Domestics and Worldwide gross</a:t>
            </a:r>
            <a:endParaRPr lang="en-US" sz="1400" b="1">
              <a:latin typeface="Calibri"/>
              <a:cs typeface="Calibr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8A1401-91A0-F33D-46AA-8DD52B934B43}"/>
              </a:ext>
            </a:extLst>
          </p:cNvPr>
          <p:cNvSpPr/>
          <p:nvPr/>
        </p:nvSpPr>
        <p:spPr>
          <a:xfrm>
            <a:off x="6561230" y="3391120"/>
            <a:ext cx="2541134" cy="861774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>
              <a:solidFill>
                <a:srgbClr val="FFFFFF"/>
              </a:solidFill>
              <a:latin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  <a:cs typeface="Calibri"/>
              </a:rPr>
              <a:t>Vote count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  <a:cs typeface="Calibri"/>
              </a:rPr>
              <a:t>Vote average</a:t>
            </a: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  <a:cs typeface="Calibri"/>
              </a:rPr>
              <a:t>Release dat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A637F71-7AA4-88AA-2105-11D7AE65A8D6}"/>
              </a:ext>
            </a:extLst>
          </p:cNvPr>
          <p:cNvSpPr/>
          <p:nvPr/>
        </p:nvSpPr>
        <p:spPr>
          <a:xfrm>
            <a:off x="8653706" y="3415310"/>
            <a:ext cx="2541134" cy="430887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>
              <a:solidFill>
                <a:srgbClr val="FFFFFF"/>
              </a:solidFill>
              <a:latin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FFFFFF"/>
                </a:solidFill>
                <a:latin typeface="Calibri"/>
                <a:cs typeface="Calibri"/>
              </a:rPr>
              <a:t>Language</a:t>
            </a:r>
          </a:p>
        </p:txBody>
      </p:sp>
    </p:spTree>
    <p:extLst>
      <p:ext uri="{BB962C8B-B14F-4D97-AF65-F5344CB8AC3E}">
        <p14:creationId xmlns:p14="http://schemas.microsoft.com/office/powerpoint/2010/main" val="974171027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078808" y="1745813"/>
            <a:ext cx="4093853" cy="4063098"/>
            <a:chOff x="1620013" y="521290"/>
            <a:chExt cx="5894609" cy="5850331"/>
          </a:xfrm>
        </p:grpSpPr>
        <p:grpSp>
          <p:nvGrpSpPr>
            <p:cNvPr id="229" name="Group 228"/>
            <p:cNvGrpSpPr/>
            <p:nvPr/>
          </p:nvGrpSpPr>
          <p:grpSpPr>
            <a:xfrm rot="8100000">
              <a:off x="4200876" y="4361448"/>
              <a:ext cx="1789366" cy="2010173"/>
              <a:chOff x="4663441" y="690417"/>
              <a:chExt cx="1789366" cy="2010173"/>
            </a:xfrm>
          </p:grpSpPr>
          <p:sp>
            <p:nvSpPr>
              <p:cNvPr id="230" name="Freeform 229"/>
              <p:cNvSpPr/>
              <p:nvPr/>
            </p:nvSpPr>
            <p:spPr bwMode="gray">
              <a:xfrm>
                <a:off x="4663441" y="690417"/>
                <a:ext cx="1672164" cy="2010173"/>
              </a:xfrm>
              <a:custGeom>
                <a:avLst/>
                <a:gdLst>
                  <a:gd name="connsiteX0" fmla="*/ 0 w 1780549"/>
                  <a:gd name="connsiteY0" fmla="*/ 0 h 2010173"/>
                  <a:gd name="connsiteX1" fmla="*/ 189035 w 1780549"/>
                  <a:gd name="connsiteY1" fmla="*/ 9546 h 2010173"/>
                  <a:gd name="connsiteX2" fmla="*/ 1653489 w 1780549"/>
                  <a:gd name="connsiteY2" fmla="*/ 621796 h 2010173"/>
                  <a:gd name="connsiteX3" fmla="*/ 1780549 w 1780549"/>
                  <a:gd name="connsiteY3" fmla="*/ 737277 h 2010173"/>
                  <a:gd name="connsiteX4" fmla="*/ 507653 w 1780549"/>
                  <a:gd name="connsiteY4" fmla="*/ 2010173 h 2010173"/>
                  <a:gd name="connsiteX5" fmla="*/ 438289 w 1780549"/>
                  <a:gd name="connsiteY5" fmla="*/ 1952943 h 2010173"/>
                  <a:gd name="connsiteX6" fmla="*/ 5431 w 1780549"/>
                  <a:gd name="connsiteY6" fmla="*/ 1796025 h 2010173"/>
                  <a:gd name="connsiteX7" fmla="*/ 0 w 1780549"/>
                  <a:gd name="connsiteY7" fmla="*/ 1795751 h 2010173"/>
                  <a:gd name="connsiteX8" fmla="*/ 0 w 1780549"/>
                  <a:gd name="connsiteY8" fmla="*/ 0 h 2010173"/>
                  <a:gd name="connsiteX0" fmla="*/ 1780549 w 1871989"/>
                  <a:gd name="connsiteY0" fmla="*/ 737277 h 2010173"/>
                  <a:gd name="connsiteX1" fmla="*/ 507653 w 1871989"/>
                  <a:gd name="connsiteY1" fmla="*/ 2010173 h 2010173"/>
                  <a:gd name="connsiteX2" fmla="*/ 438289 w 1871989"/>
                  <a:gd name="connsiteY2" fmla="*/ 1952943 h 2010173"/>
                  <a:gd name="connsiteX3" fmla="*/ 5431 w 1871989"/>
                  <a:gd name="connsiteY3" fmla="*/ 1796025 h 2010173"/>
                  <a:gd name="connsiteX4" fmla="*/ 0 w 1871989"/>
                  <a:gd name="connsiteY4" fmla="*/ 1795751 h 2010173"/>
                  <a:gd name="connsiteX5" fmla="*/ 0 w 1871989"/>
                  <a:gd name="connsiteY5" fmla="*/ 0 h 2010173"/>
                  <a:gd name="connsiteX6" fmla="*/ 189035 w 1871989"/>
                  <a:gd name="connsiteY6" fmla="*/ 9546 h 2010173"/>
                  <a:gd name="connsiteX7" fmla="*/ 1653489 w 1871989"/>
                  <a:gd name="connsiteY7" fmla="*/ 621796 h 2010173"/>
                  <a:gd name="connsiteX8" fmla="*/ 1871989 w 1871989"/>
                  <a:gd name="connsiteY8" fmla="*/ 828717 h 2010173"/>
                  <a:gd name="connsiteX0" fmla="*/ 1780549 w 1780549"/>
                  <a:gd name="connsiteY0" fmla="*/ 737277 h 2010173"/>
                  <a:gd name="connsiteX1" fmla="*/ 507653 w 1780549"/>
                  <a:gd name="connsiteY1" fmla="*/ 2010173 h 2010173"/>
                  <a:gd name="connsiteX2" fmla="*/ 438289 w 1780549"/>
                  <a:gd name="connsiteY2" fmla="*/ 1952943 h 2010173"/>
                  <a:gd name="connsiteX3" fmla="*/ 5431 w 1780549"/>
                  <a:gd name="connsiteY3" fmla="*/ 1796025 h 2010173"/>
                  <a:gd name="connsiteX4" fmla="*/ 0 w 1780549"/>
                  <a:gd name="connsiteY4" fmla="*/ 1795751 h 2010173"/>
                  <a:gd name="connsiteX5" fmla="*/ 0 w 1780549"/>
                  <a:gd name="connsiteY5" fmla="*/ 0 h 2010173"/>
                  <a:gd name="connsiteX6" fmla="*/ 189035 w 1780549"/>
                  <a:gd name="connsiteY6" fmla="*/ 9546 h 2010173"/>
                  <a:gd name="connsiteX7" fmla="*/ 1653489 w 1780549"/>
                  <a:gd name="connsiteY7" fmla="*/ 621796 h 2010173"/>
                  <a:gd name="connsiteX8" fmla="*/ 1652914 w 1780549"/>
                  <a:gd name="connsiteY8" fmla="*/ 622342 h 2010173"/>
                  <a:gd name="connsiteX0" fmla="*/ 1607511 w 1672164"/>
                  <a:gd name="connsiteY0" fmla="*/ 911902 h 2010173"/>
                  <a:gd name="connsiteX1" fmla="*/ 507653 w 1672164"/>
                  <a:gd name="connsiteY1" fmla="*/ 2010173 h 2010173"/>
                  <a:gd name="connsiteX2" fmla="*/ 438289 w 1672164"/>
                  <a:gd name="connsiteY2" fmla="*/ 1952943 h 2010173"/>
                  <a:gd name="connsiteX3" fmla="*/ 5431 w 1672164"/>
                  <a:gd name="connsiteY3" fmla="*/ 1796025 h 2010173"/>
                  <a:gd name="connsiteX4" fmla="*/ 0 w 1672164"/>
                  <a:gd name="connsiteY4" fmla="*/ 1795751 h 2010173"/>
                  <a:gd name="connsiteX5" fmla="*/ 0 w 1672164"/>
                  <a:gd name="connsiteY5" fmla="*/ 0 h 2010173"/>
                  <a:gd name="connsiteX6" fmla="*/ 189035 w 1672164"/>
                  <a:gd name="connsiteY6" fmla="*/ 9546 h 2010173"/>
                  <a:gd name="connsiteX7" fmla="*/ 1653489 w 1672164"/>
                  <a:gd name="connsiteY7" fmla="*/ 621796 h 2010173"/>
                  <a:gd name="connsiteX8" fmla="*/ 1652914 w 1672164"/>
                  <a:gd name="connsiteY8" fmla="*/ 622342 h 2010173"/>
                  <a:gd name="connsiteX0" fmla="*/ 1585286 w 1672164"/>
                  <a:gd name="connsiteY0" fmla="*/ 934127 h 2010173"/>
                  <a:gd name="connsiteX1" fmla="*/ 507653 w 1672164"/>
                  <a:gd name="connsiteY1" fmla="*/ 2010173 h 2010173"/>
                  <a:gd name="connsiteX2" fmla="*/ 438289 w 1672164"/>
                  <a:gd name="connsiteY2" fmla="*/ 1952943 h 2010173"/>
                  <a:gd name="connsiteX3" fmla="*/ 5431 w 1672164"/>
                  <a:gd name="connsiteY3" fmla="*/ 1796025 h 2010173"/>
                  <a:gd name="connsiteX4" fmla="*/ 0 w 1672164"/>
                  <a:gd name="connsiteY4" fmla="*/ 1795751 h 2010173"/>
                  <a:gd name="connsiteX5" fmla="*/ 0 w 1672164"/>
                  <a:gd name="connsiteY5" fmla="*/ 0 h 2010173"/>
                  <a:gd name="connsiteX6" fmla="*/ 189035 w 1672164"/>
                  <a:gd name="connsiteY6" fmla="*/ 9546 h 2010173"/>
                  <a:gd name="connsiteX7" fmla="*/ 1653489 w 1672164"/>
                  <a:gd name="connsiteY7" fmla="*/ 621796 h 2010173"/>
                  <a:gd name="connsiteX8" fmla="*/ 1652914 w 1672164"/>
                  <a:gd name="connsiteY8" fmla="*/ 622342 h 2010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2164" h="2010173">
                    <a:moveTo>
                      <a:pt x="1585286" y="934127"/>
                    </a:moveTo>
                    <a:lnTo>
                      <a:pt x="507653" y="2010173"/>
                    </a:lnTo>
                    <a:lnTo>
                      <a:pt x="438289" y="1952943"/>
                    </a:lnTo>
                    <a:cubicBezTo>
                      <a:pt x="312277" y="1867811"/>
                      <a:pt x="164684" y="1812198"/>
                      <a:pt x="5431" y="1796025"/>
                    </a:cubicBezTo>
                    <a:lnTo>
                      <a:pt x="0" y="1795751"/>
                    </a:lnTo>
                    <a:lnTo>
                      <a:pt x="0" y="0"/>
                    </a:lnTo>
                    <a:lnTo>
                      <a:pt x="189035" y="9546"/>
                    </a:lnTo>
                    <a:cubicBezTo>
                      <a:pt x="742346" y="65738"/>
                      <a:pt x="1247044" y="286368"/>
                      <a:pt x="1653489" y="621796"/>
                    </a:cubicBezTo>
                    <a:cubicBezTo>
                      <a:pt x="1695842" y="660290"/>
                      <a:pt x="1652914" y="622342"/>
                      <a:pt x="1652914" y="622342"/>
                    </a:cubicBezTo>
                  </a:path>
                </a:pathLst>
              </a:custGeom>
              <a:noFill/>
              <a:ln w="28575" algn="ctr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algn="ctr" defTabSz="685800">
                  <a:lnSpc>
                    <a:spcPct val="106000"/>
                  </a:lnSpc>
                  <a:defRPr/>
                </a:pPr>
                <a:endParaRPr lang="en-US" sz="8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231" name="Isosceles Triangle 230"/>
              <p:cNvSpPr/>
              <p:nvPr/>
            </p:nvSpPr>
            <p:spPr bwMode="gray">
              <a:xfrm rot="7855756">
                <a:off x="6329363" y="1317625"/>
                <a:ext cx="132588" cy="114300"/>
              </a:xfrm>
              <a:prstGeom prst="triangle">
                <a:avLst/>
              </a:prstGeom>
              <a:noFill/>
              <a:ln w="28575" algn="ctr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algn="ctr" defTabSz="685800">
                  <a:lnSpc>
                    <a:spcPct val="106000"/>
                  </a:lnSpc>
                  <a:defRPr/>
                </a:pPr>
                <a:endParaRPr lang="en-US" sz="8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232" name="Oval 231"/>
              <p:cNvSpPr/>
              <p:nvPr/>
            </p:nvSpPr>
            <p:spPr bwMode="gray">
              <a:xfrm>
                <a:off x="6235103" y="1522413"/>
                <a:ext cx="115888" cy="115888"/>
              </a:xfrm>
              <a:prstGeom prst="ellipse">
                <a:avLst/>
              </a:prstGeom>
              <a:noFill/>
              <a:ln w="28575" algn="ctr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algn="ctr" defTabSz="685800">
                  <a:lnSpc>
                    <a:spcPct val="106000"/>
                  </a:lnSpc>
                  <a:defRPr/>
                </a:pPr>
                <a:endParaRPr lang="en-US" sz="800" b="1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1620013" y="521290"/>
              <a:ext cx="5894609" cy="5681204"/>
              <a:chOff x="1620013" y="521290"/>
              <a:chExt cx="5894609" cy="5681204"/>
            </a:xfrm>
          </p:grpSpPr>
          <p:sp>
            <p:nvSpPr>
              <p:cNvPr id="269" name="Rectangle 268"/>
              <p:cNvSpPr/>
              <p:nvPr/>
            </p:nvSpPr>
            <p:spPr>
              <a:xfrm>
                <a:off x="3650606" y="3097042"/>
                <a:ext cx="1833423" cy="8420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  <a:p>
                <a:pPr algn="ctr" defTabSz="685800">
                  <a:defRPr/>
                </a:pPr>
                <a:r>
                  <a:rPr lang="en-US" sz="800">
                    <a:solidFill>
                      <a:srgbClr val="000000"/>
                    </a:solidFill>
                  </a:rPr>
                  <a:t>Lorem ipsum dolor sit </a:t>
                </a:r>
                <a:r>
                  <a:rPr lang="en-US" sz="800" err="1">
                    <a:solidFill>
                      <a:srgbClr val="000000"/>
                    </a:solidFill>
                  </a:rPr>
                  <a:t>amet</a:t>
                </a:r>
                <a:r>
                  <a:rPr lang="en-US" sz="800">
                    <a:solidFill>
                      <a:srgbClr val="000000"/>
                    </a:solidFill>
                  </a:rPr>
                  <a:t>, </a:t>
                </a:r>
                <a:r>
                  <a:rPr lang="en-US" sz="800" err="1">
                    <a:solidFill>
                      <a:srgbClr val="000000"/>
                    </a:solidFill>
                  </a:rPr>
                  <a:t>consectetur</a:t>
                </a:r>
                <a:r>
                  <a:rPr lang="en-US" sz="800">
                    <a:solidFill>
                      <a:srgbClr val="000000"/>
                    </a:solidFill>
                  </a:rPr>
                  <a:t> </a:t>
                </a:r>
                <a:r>
                  <a:rPr lang="en-US" sz="800" err="1">
                    <a:solidFill>
                      <a:srgbClr val="000000"/>
                    </a:solidFill>
                  </a:rPr>
                  <a:t>adipiscing</a:t>
                </a:r>
                <a:r>
                  <a:rPr lang="en-US" sz="800">
                    <a:solidFill>
                      <a:srgbClr val="000000"/>
                    </a:solidFill>
                  </a:rPr>
                  <a:t> </a:t>
                </a:r>
                <a:r>
                  <a:rPr lang="en-US" sz="800" err="1">
                    <a:solidFill>
                      <a:srgbClr val="000000"/>
                    </a:solidFill>
                  </a:rPr>
                  <a:t>elit</a:t>
                </a:r>
                <a:endParaRPr lang="en-US" sz="8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21" name="Group 220"/>
              <p:cNvGrpSpPr/>
              <p:nvPr/>
            </p:nvGrpSpPr>
            <p:grpSpPr>
              <a:xfrm rot="2700000">
                <a:off x="5614853" y="1908707"/>
                <a:ext cx="1789366" cy="2010173"/>
                <a:chOff x="4663441" y="690417"/>
                <a:chExt cx="1789366" cy="2010173"/>
              </a:xfrm>
            </p:grpSpPr>
            <p:sp>
              <p:nvSpPr>
                <p:cNvPr id="222" name="Freeform 221"/>
                <p:cNvSpPr/>
                <p:nvPr/>
              </p:nvSpPr>
              <p:spPr bwMode="gray">
                <a:xfrm>
                  <a:off x="4663441" y="690417"/>
                  <a:ext cx="1672164" cy="2010173"/>
                </a:xfrm>
                <a:custGeom>
                  <a:avLst/>
                  <a:gdLst>
                    <a:gd name="connsiteX0" fmla="*/ 0 w 1780549"/>
                    <a:gd name="connsiteY0" fmla="*/ 0 h 2010173"/>
                    <a:gd name="connsiteX1" fmla="*/ 189035 w 1780549"/>
                    <a:gd name="connsiteY1" fmla="*/ 9546 h 2010173"/>
                    <a:gd name="connsiteX2" fmla="*/ 1653489 w 1780549"/>
                    <a:gd name="connsiteY2" fmla="*/ 621796 h 2010173"/>
                    <a:gd name="connsiteX3" fmla="*/ 1780549 w 1780549"/>
                    <a:gd name="connsiteY3" fmla="*/ 737277 h 2010173"/>
                    <a:gd name="connsiteX4" fmla="*/ 507653 w 1780549"/>
                    <a:gd name="connsiteY4" fmla="*/ 2010173 h 2010173"/>
                    <a:gd name="connsiteX5" fmla="*/ 438289 w 1780549"/>
                    <a:gd name="connsiteY5" fmla="*/ 1952943 h 2010173"/>
                    <a:gd name="connsiteX6" fmla="*/ 5431 w 1780549"/>
                    <a:gd name="connsiteY6" fmla="*/ 1796025 h 2010173"/>
                    <a:gd name="connsiteX7" fmla="*/ 0 w 1780549"/>
                    <a:gd name="connsiteY7" fmla="*/ 1795751 h 2010173"/>
                    <a:gd name="connsiteX8" fmla="*/ 0 w 1780549"/>
                    <a:gd name="connsiteY8" fmla="*/ 0 h 2010173"/>
                    <a:gd name="connsiteX0" fmla="*/ 1780549 w 1871989"/>
                    <a:gd name="connsiteY0" fmla="*/ 737277 h 2010173"/>
                    <a:gd name="connsiteX1" fmla="*/ 507653 w 1871989"/>
                    <a:gd name="connsiteY1" fmla="*/ 2010173 h 2010173"/>
                    <a:gd name="connsiteX2" fmla="*/ 438289 w 1871989"/>
                    <a:gd name="connsiteY2" fmla="*/ 1952943 h 2010173"/>
                    <a:gd name="connsiteX3" fmla="*/ 5431 w 1871989"/>
                    <a:gd name="connsiteY3" fmla="*/ 1796025 h 2010173"/>
                    <a:gd name="connsiteX4" fmla="*/ 0 w 1871989"/>
                    <a:gd name="connsiteY4" fmla="*/ 1795751 h 2010173"/>
                    <a:gd name="connsiteX5" fmla="*/ 0 w 1871989"/>
                    <a:gd name="connsiteY5" fmla="*/ 0 h 2010173"/>
                    <a:gd name="connsiteX6" fmla="*/ 189035 w 1871989"/>
                    <a:gd name="connsiteY6" fmla="*/ 9546 h 2010173"/>
                    <a:gd name="connsiteX7" fmla="*/ 1653489 w 1871989"/>
                    <a:gd name="connsiteY7" fmla="*/ 621796 h 2010173"/>
                    <a:gd name="connsiteX8" fmla="*/ 1871989 w 1871989"/>
                    <a:gd name="connsiteY8" fmla="*/ 828717 h 2010173"/>
                    <a:gd name="connsiteX0" fmla="*/ 1780549 w 1780549"/>
                    <a:gd name="connsiteY0" fmla="*/ 737277 h 2010173"/>
                    <a:gd name="connsiteX1" fmla="*/ 507653 w 1780549"/>
                    <a:gd name="connsiteY1" fmla="*/ 2010173 h 2010173"/>
                    <a:gd name="connsiteX2" fmla="*/ 438289 w 1780549"/>
                    <a:gd name="connsiteY2" fmla="*/ 1952943 h 2010173"/>
                    <a:gd name="connsiteX3" fmla="*/ 5431 w 1780549"/>
                    <a:gd name="connsiteY3" fmla="*/ 1796025 h 2010173"/>
                    <a:gd name="connsiteX4" fmla="*/ 0 w 1780549"/>
                    <a:gd name="connsiteY4" fmla="*/ 1795751 h 2010173"/>
                    <a:gd name="connsiteX5" fmla="*/ 0 w 1780549"/>
                    <a:gd name="connsiteY5" fmla="*/ 0 h 2010173"/>
                    <a:gd name="connsiteX6" fmla="*/ 189035 w 1780549"/>
                    <a:gd name="connsiteY6" fmla="*/ 9546 h 2010173"/>
                    <a:gd name="connsiteX7" fmla="*/ 1653489 w 1780549"/>
                    <a:gd name="connsiteY7" fmla="*/ 621796 h 2010173"/>
                    <a:gd name="connsiteX8" fmla="*/ 1652914 w 1780549"/>
                    <a:gd name="connsiteY8" fmla="*/ 622342 h 2010173"/>
                    <a:gd name="connsiteX0" fmla="*/ 1607511 w 1672164"/>
                    <a:gd name="connsiteY0" fmla="*/ 911902 h 2010173"/>
                    <a:gd name="connsiteX1" fmla="*/ 507653 w 1672164"/>
                    <a:gd name="connsiteY1" fmla="*/ 2010173 h 2010173"/>
                    <a:gd name="connsiteX2" fmla="*/ 438289 w 1672164"/>
                    <a:gd name="connsiteY2" fmla="*/ 1952943 h 2010173"/>
                    <a:gd name="connsiteX3" fmla="*/ 5431 w 1672164"/>
                    <a:gd name="connsiteY3" fmla="*/ 1796025 h 2010173"/>
                    <a:gd name="connsiteX4" fmla="*/ 0 w 1672164"/>
                    <a:gd name="connsiteY4" fmla="*/ 1795751 h 2010173"/>
                    <a:gd name="connsiteX5" fmla="*/ 0 w 1672164"/>
                    <a:gd name="connsiteY5" fmla="*/ 0 h 2010173"/>
                    <a:gd name="connsiteX6" fmla="*/ 189035 w 1672164"/>
                    <a:gd name="connsiteY6" fmla="*/ 9546 h 2010173"/>
                    <a:gd name="connsiteX7" fmla="*/ 1653489 w 1672164"/>
                    <a:gd name="connsiteY7" fmla="*/ 621796 h 2010173"/>
                    <a:gd name="connsiteX8" fmla="*/ 1652914 w 1672164"/>
                    <a:gd name="connsiteY8" fmla="*/ 622342 h 2010173"/>
                    <a:gd name="connsiteX0" fmla="*/ 1585286 w 1672164"/>
                    <a:gd name="connsiteY0" fmla="*/ 934127 h 2010173"/>
                    <a:gd name="connsiteX1" fmla="*/ 507653 w 1672164"/>
                    <a:gd name="connsiteY1" fmla="*/ 2010173 h 2010173"/>
                    <a:gd name="connsiteX2" fmla="*/ 438289 w 1672164"/>
                    <a:gd name="connsiteY2" fmla="*/ 1952943 h 2010173"/>
                    <a:gd name="connsiteX3" fmla="*/ 5431 w 1672164"/>
                    <a:gd name="connsiteY3" fmla="*/ 1796025 h 2010173"/>
                    <a:gd name="connsiteX4" fmla="*/ 0 w 1672164"/>
                    <a:gd name="connsiteY4" fmla="*/ 1795751 h 2010173"/>
                    <a:gd name="connsiteX5" fmla="*/ 0 w 1672164"/>
                    <a:gd name="connsiteY5" fmla="*/ 0 h 2010173"/>
                    <a:gd name="connsiteX6" fmla="*/ 189035 w 1672164"/>
                    <a:gd name="connsiteY6" fmla="*/ 9546 h 2010173"/>
                    <a:gd name="connsiteX7" fmla="*/ 1653489 w 1672164"/>
                    <a:gd name="connsiteY7" fmla="*/ 621796 h 2010173"/>
                    <a:gd name="connsiteX8" fmla="*/ 1652914 w 1672164"/>
                    <a:gd name="connsiteY8" fmla="*/ 622342 h 2010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72164" h="2010173">
                      <a:moveTo>
                        <a:pt x="1585286" y="934127"/>
                      </a:moveTo>
                      <a:lnTo>
                        <a:pt x="507653" y="2010173"/>
                      </a:lnTo>
                      <a:lnTo>
                        <a:pt x="438289" y="1952943"/>
                      </a:lnTo>
                      <a:cubicBezTo>
                        <a:pt x="312277" y="1867811"/>
                        <a:pt x="164684" y="1812198"/>
                        <a:pt x="5431" y="1796025"/>
                      </a:cubicBezTo>
                      <a:lnTo>
                        <a:pt x="0" y="1795751"/>
                      </a:lnTo>
                      <a:lnTo>
                        <a:pt x="0" y="0"/>
                      </a:lnTo>
                      <a:lnTo>
                        <a:pt x="189035" y="9546"/>
                      </a:lnTo>
                      <a:cubicBezTo>
                        <a:pt x="742346" y="65738"/>
                        <a:pt x="1247044" y="286368"/>
                        <a:pt x="1653489" y="621796"/>
                      </a:cubicBezTo>
                      <a:cubicBezTo>
                        <a:pt x="1695842" y="660290"/>
                        <a:pt x="1652914" y="622342"/>
                        <a:pt x="1652914" y="622342"/>
                      </a:cubicBezTo>
                    </a:path>
                  </a:pathLst>
                </a:custGeom>
                <a:noFill/>
                <a:ln w="28575" algn="ctr">
                  <a:solidFill>
                    <a:srgbClr val="004F59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23" name="Isosceles Triangle 222"/>
                <p:cNvSpPr/>
                <p:nvPr/>
              </p:nvSpPr>
              <p:spPr bwMode="gray">
                <a:xfrm rot="7855756">
                  <a:off x="6329363" y="1317625"/>
                  <a:ext cx="132588" cy="114300"/>
                </a:xfrm>
                <a:prstGeom prst="triangle">
                  <a:avLst/>
                </a:prstGeom>
                <a:noFill/>
                <a:ln w="28575" algn="ctr">
                  <a:solidFill>
                    <a:srgbClr val="004F59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24" name="Oval 223"/>
                <p:cNvSpPr/>
                <p:nvPr/>
              </p:nvSpPr>
              <p:spPr bwMode="gray">
                <a:xfrm>
                  <a:off x="6235103" y="1522413"/>
                  <a:ext cx="115888" cy="115888"/>
                </a:xfrm>
                <a:prstGeom prst="ellipse">
                  <a:avLst/>
                </a:prstGeom>
                <a:noFill/>
                <a:ln w="28575" algn="ctr">
                  <a:solidFill>
                    <a:srgbClr val="004F59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7" name="Group 6"/>
              <p:cNvGrpSpPr/>
              <p:nvPr/>
            </p:nvGrpSpPr>
            <p:grpSpPr>
              <a:xfrm>
                <a:off x="4663441" y="690417"/>
                <a:ext cx="1789366" cy="2010173"/>
                <a:chOff x="4663441" y="690417"/>
                <a:chExt cx="1789366" cy="2010173"/>
              </a:xfrm>
            </p:grpSpPr>
            <p:sp>
              <p:nvSpPr>
                <p:cNvPr id="211" name="Freeform 210"/>
                <p:cNvSpPr/>
                <p:nvPr/>
              </p:nvSpPr>
              <p:spPr bwMode="gray">
                <a:xfrm>
                  <a:off x="4663441" y="690417"/>
                  <a:ext cx="1672164" cy="2010173"/>
                </a:xfrm>
                <a:custGeom>
                  <a:avLst/>
                  <a:gdLst>
                    <a:gd name="connsiteX0" fmla="*/ 0 w 1780549"/>
                    <a:gd name="connsiteY0" fmla="*/ 0 h 2010173"/>
                    <a:gd name="connsiteX1" fmla="*/ 189035 w 1780549"/>
                    <a:gd name="connsiteY1" fmla="*/ 9546 h 2010173"/>
                    <a:gd name="connsiteX2" fmla="*/ 1653489 w 1780549"/>
                    <a:gd name="connsiteY2" fmla="*/ 621796 h 2010173"/>
                    <a:gd name="connsiteX3" fmla="*/ 1780549 w 1780549"/>
                    <a:gd name="connsiteY3" fmla="*/ 737277 h 2010173"/>
                    <a:gd name="connsiteX4" fmla="*/ 507653 w 1780549"/>
                    <a:gd name="connsiteY4" fmla="*/ 2010173 h 2010173"/>
                    <a:gd name="connsiteX5" fmla="*/ 438289 w 1780549"/>
                    <a:gd name="connsiteY5" fmla="*/ 1952943 h 2010173"/>
                    <a:gd name="connsiteX6" fmla="*/ 5431 w 1780549"/>
                    <a:gd name="connsiteY6" fmla="*/ 1796025 h 2010173"/>
                    <a:gd name="connsiteX7" fmla="*/ 0 w 1780549"/>
                    <a:gd name="connsiteY7" fmla="*/ 1795751 h 2010173"/>
                    <a:gd name="connsiteX8" fmla="*/ 0 w 1780549"/>
                    <a:gd name="connsiteY8" fmla="*/ 0 h 2010173"/>
                    <a:gd name="connsiteX0" fmla="*/ 1780549 w 1871989"/>
                    <a:gd name="connsiteY0" fmla="*/ 737277 h 2010173"/>
                    <a:gd name="connsiteX1" fmla="*/ 507653 w 1871989"/>
                    <a:gd name="connsiteY1" fmla="*/ 2010173 h 2010173"/>
                    <a:gd name="connsiteX2" fmla="*/ 438289 w 1871989"/>
                    <a:gd name="connsiteY2" fmla="*/ 1952943 h 2010173"/>
                    <a:gd name="connsiteX3" fmla="*/ 5431 w 1871989"/>
                    <a:gd name="connsiteY3" fmla="*/ 1796025 h 2010173"/>
                    <a:gd name="connsiteX4" fmla="*/ 0 w 1871989"/>
                    <a:gd name="connsiteY4" fmla="*/ 1795751 h 2010173"/>
                    <a:gd name="connsiteX5" fmla="*/ 0 w 1871989"/>
                    <a:gd name="connsiteY5" fmla="*/ 0 h 2010173"/>
                    <a:gd name="connsiteX6" fmla="*/ 189035 w 1871989"/>
                    <a:gd name="connsiteY6" fmla="*/ 9546 h 2010173"/>
                    <a:gd name="connsiteX7" fmla="*/ 1653489 w 1871989"/>
                    <a:gd name="connsiteY7" fmla="*/ 621796 h 2010173"/>
                    <a:gd name="connsiteX8" fmla="*/ 1871989 w 1871989"/>
                    <a:gd name="connsiteY8" fmla="*/ 828717 h 2010173"/>
                    <a:gd name="connsiteX0" fmla="*/ 1780549 w 1780549"/>
                    <a:gd name="connsiteY0" fmla="*/ 737277 h 2010173"/>
                    <a:gd name="connsiteX1" fmla="*/ 507653 w 1780549"/>
                    <a:gd name="connsiteY1" fmla="*/ 2010173 h 2010173"/>
                    <a:gd name="connsiteX2" fmla="*/ 438289 w 1780549"/>
                    <a:gd name="connsiteY2" fmla="*/ 1952943 h 2010173"/>
                    <a:gd name="connsiteX3" fmla="*/ 5431 w 1780549"/>
                    <a:gd name="connsiteY3" fmla="*/ 1796025 h 2010173"/>
                    <a:gd name="connsiteX4" fmla="*/ 0 w 1780549"/>
                    <a:gd name="connsiteY4" fmla="*/ 1795751 h 2010173"/>
                    <a:gd name="connsiteX5" fmla="*/ 0 w 1780549"/>
                    <a:gd name="connsiteY5" fmla="*/ 0 h 2010173"/>
                    <a:gd name="connsiteX6" fmla="*/ 189035 w 1780549"/>
                    <a:gd name="connsiteY6" fmla="*/ 9546 h 2010173"/>
                    <a:gd name="connsiteX7" fmla="*/ 1653489 w 1780549"/>
                    <a:gd name="connsiteY7" fmla="*/ 621796 h 2010173"/>
                    <a:gd name="connsiteX8" fmla="*/ 1652914 w 1780549"/>
                    <a:gd name="connsiteY8" fmla="*/ 622342 h 2010173"/>
                    <a:gd name="connsiteX0" fmla="*/ 1607511 w 1672164"/>
                    <a:gd name="connsiteY0" fmla="*/ 911902 h 2010173"/>
                    <a:gd name="connsiteX1" fmla="*/ 507653 w 1672164"/>
                    <a:gd name="connsiteY1" fmla="*/ 2010173 h 2010173"/>
                    <a:gd name="connsiteX2" fmla="*/ 438289 w 1672164"/>
                    <a:gd name="connsiteY2" fmla="*/ 1952943 h 2010173"/>
                    <a:gd name="connsiteX3" fmla="*/ 5431 w 1672164"/>
                    <a:gd name="connsiteY3" fmla="*/ 1796025 h 2010173"/>
                    <a:gd name="connsiteX4" fmla="*/ 0 w 1672164"/>
                    <a:gd name="connsiteY4" fmla="*/ 1795751 h 2010173"/>
                    <a:gd name="connsiteX5" fmla="*/ 0 w 1672164"/>
                    <a:gd name="connsiteY5" fmla="*/ 0 h 2010173"/>
                    <a:gd name="connsiteX6" fmla="*/ 189035 w 1672164"/>
                    <a:gd name="connsiteY6" fmla="*/ 9546 h 2010173"/>
                    <a:gd name="connsiteX7" fmla="*/ 1653489 w 1672164"/>
                    <a:gd name="connsiteY7" fmla="*/ 621796 h 2010173"/>
                    <a:gd name="connsiteX8" fmla="*/ 1652914 w 1672164"/>
                    <a:gd name="connsiteY8" fmla="*/ 622342 h 2010173"/>
                    <a:gd name="connsiteX0" fmla="*/ 1585286 w 1672164"/>
                    <a:gd name="connsiteY0" fmla="*/ 934127 h 2010173"/>
                    <a:gd name="connsiteX1" fmla="*/ 507653 w 1672164"/>
                    <a:gd name="connsiteY1" fmla="*/ 2010173 h 2010173"/>
                    <a:gd name="connsiteX2" fmla="*/ 438289 w 1672164"/>
                    <a:gd name="connsiteY2" fmla="*/ 1952943 h 2010173"/>
                    <a:gd name="connsiteX3" fmla="*/ 5431 w 1672164"/>
                    <a:gd name="connsiteY3" fmla="*/ 1796025 h 2010173"/>
                    <a:gd name="connsiteX4" fmla="*/ 0 w 1672164"/>
                    <a:gd name="connsiteY4" fmla="*/ 1795751 h 2010173"/>
                    <a:gd name="connsiteX5" fmla="*/ 0 w 1672164"/>
                    <a:gd name="connsiteY5" fmla="*/ 0 h 2010173"/>
                    <a:gd name="connsiteX6" fmla="*/ 189035 w 1672164"/>
                    <a:gd name="connsiteY6" fmla="*/ 9546 h 2010173"/>
                    <a:gd name="connsiteX7" fmla="*/ 1653489 w 1672164"/>
                    <a:gd name="connsiteY7" fmla="*/ 621796 h 2010173"/>
                    <a:gd name="connsiteX8" fmla="*/ 1652914 w 1672164"/>
                    <a:gd name="connsiteY8" fmla="*/ 622342 h 2010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72164" h="2010173">
                      <a:moveTo>
                        <a:pt x="1585286" y="934127"/>
                      </a:moveTo>
                      <a:lnTo>
                        <a:pt x="507653" y="2010173"/>
                      </a:lnTo>
                      <a:lnTo>
                        <a:pt x="438289" y="1952943"/>
                      </a:lnTo>
                      <a:cubicBezTo>
                        <a:pt x="312277" y="1867811"/>
                        <a:pt x="164684" y="1812198"/>
                        <a:pt x="5431" y="1796025"/>
                      </a:cubicBezTo>
                      <a:lnTo>
                        <a:pt x="0" y="1795751"/>
                      </a:lnTo>
                      <a:lnTo>
                        <a:pt x="0" y="0"/>
                      </a:lnTo>
                      <a:lnTo>
                        <a:pt x="189035" y="9546"/>
                      </a:lnTo>
                      <a:cubicBezTo>
                        <a:pt x="742346" y="65738"/>
                        <a:pt x="1247044" y="286368"/>
                        <a:pt x="1653489" y="621796"/>
                      </a:cubicBezTo>
                      <a:cubicBezTo>
                        <a:pt x="1695842" y="660290"/>
                        <a:pt x="1652914" y="622342"/>
                        <a:pt x="1652914" y="622342"/>
                      </a:cubicBezTo>
                    </a:path>
                  </a:pathLst>
                </a:custGeom>
                <a:noFill/>
                <a:ln w="28575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" name="Isosceles Triangle 4"/>
                <p:cNvSpPr/>
                <p:nvPr/>
              </p:nvSpPr>
              <p:spPr bwMode="gray">
                <a:xfrm rot="7855756">
                  <a:off x="6329363" y="1317625"/>
                  <a:ext cx="132588" cy="114300"/>
                </a:xfrm>
                <a:prstGeom prst="triangle">
                  <a:avLst/>
                </a:prstGeom>
                <a:noFill/>
                <a:ln w="28575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" name="Oval 5"/>
                <p:cNvSpPr/>
                <p:nvPr/>
              </p:nvSpPr>
              <p:spPr bwMode="gray">
                <a:xfrm>
                  <a:off x="6235103" y="1522413"/>
                  <a:ext cx="115888" cy="115888"/>
                </a:xfrm>
                <a:prstGeom prst="ellipse">
                  <a:avLst/>
                </a:prstGeom>
                <a:noFill/>
                <a:ln w="28575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225" name="Group 224"/>
              <p:cNvGrpSpPr/>
              <p:nvPr/>
            </p:nvGrpSpPr>
            <p:grpSpPr>
              <a:xfrm rot="5400000">
                <a:off x="5415430" y="3420975"/>
                <a:ext cx="1789366" cy="2010173"/>
                <a:chOff x="4663441" y="690417"/>
                <a:chExt cx="1789366" cy="2010173"/>
              </a:xfrm>
            </p:grpSpPr>
            <p:sp>
              <p:nvSpPr>
                <p:cNvPr id="226" name="Freeform 225"/>
                <p:cNvSpPr/>
                <p:nvPr/>
              </p:nvSpPr>
              <p:spPr bwMode="gray">
                <a:xfrm>
                  <a:off x="4663441" y="690417"/>
                  <a:ext cx="1672164" cy="2010173"/>
                </a:xfrm>
                <a:custGeom>
                  <a:avLst/>
                  <a:gdLst>
                    <a:gd name="connsiteX0" fmla="*/ 0 w 1780549"/>
                    <a:gd name="connsiteY0" fmla="*/ 0 h 2010173"/>
                    <a:gd name="connsiteX1" fmla="*/ 189035 w 1780549"/>
                    <a:gd name="connsiteY1" fmla="*/ 9546 h 2010173"/>
                    <a:gd name="connsiteX2" fmla="*/ 1653489 w 1780549"/>
                    <a:gd name="connsiteY2" fmla="*/ 621796 h 2010173"/>
                    <a:gd name="connsiteX3" fmla="*/ 1780549 w 1780549"/>
                    <a:gd name="connsiteY3" fmla="*/ 737277 h 2010173"/>
                    <a:gd name="connsiteX4" fmla="*/ 507653 w 1780549"/>
                    <a:gd name="connsiteY4" fmla="*/ 2010173 h 2010173"/>
                    <a:gd name="connsiteX5" fmla="*/ 438289 w 1780549"/>
                    <a:gd name="connsiteY5" fmla="*/ 1952943 h 2010173"/>
                    <a:gd name="connsiteX6" fmla="*/ 5431 w 1780549"/>
                    <a:gd name="connsiteY6" fmla="*/ 1796025 h 2010173"/>
                    <a:gd name="connsiteX7" fmla="*/ 0 w 1780549"/>
                    <a:gd name="connsiteY7" fmla="*/ 1795751 h 2010173"/>
                    <a:gd name="connsiteX8" fmla="*/ 0 w 1780549"/>
                    <a:gd name="connsiteY8" fmla="*/ 0 h 2010173"/>
                    <a:gd name="connsiteX0" fmla="*/ 1780549 w 1871989"/>
                    <a:gd name="connsiteY0" fmla="*/ 737277 h 2010173"/>
                    <a:gd name="connsiteX1" fmla="*/ 507653 w 1871989"/>
                    <a:gd name="connsiteY1" fmla="*/ 2010173 h 2010173"/>
                    <a:gd name="connsiteX2" fmla="*/ 438289 w 1871989"/>
                    <a:gd name="connsiteY2" fmla="*/ 1952943 h 2010173"/>
                    <a:gd name="connsiteX3" fmla="*/ 5431 w 1871989"/>
                    <a:gd name="connsiteY3" fmla="*/ 1796025 h 2010173"/>
                    <a:gd name="connsiteX4" fmla="*/ 0 w 1871989"/>
                    <a:gd name="connsiteY4" fmla="*/ 1795751 h 2010173"/>
                    <a:gd name="connsiteX5" fmla="*/ 0 w 1871989"/>
                    <a:gd name="connsiteY5" fmla="*/ 0 h 2010173"/>
                    <a:gd name="connsiteX6" fmla="*/ 189035 w 1871989"/>
                    <a:gd name="connsiteY6" fmla="*/ 9546 h 2010173"/>
                    <a:gd name="connsiteX7" fmla="*/ 1653489 w 1871989"/>
                    <a:gd name="connsiteY7" fmla="*/ 621796 h 2010173"/>
                    <a:gd name="connsiteX8" fmla="*/ 1871989 w 1871989"/>
                    <a:gd name="connsiteY8" fmla="*/ 828717 h 2010173"/>
                    <a:gd name="connsiteX0" fmla="*/ 1780549 w 1780549"/>
                    <a:gd name="connsiteY0" fmla="*/ 737277 h 2010173"/>
                    <a:gd name="connsiteX1" fmla="*/ 507653 w 1780549"/>
                    <a:gd name="connsiteY1" fmla="*/ 2010173 h 2010173"/>
                    <a:gd name="connsiteX2" fmla="*/ 438289 w 1780549"/>
                    <a:gd name="connsiteY2" fmla="*/ 1952943 h 2010173"/>
                    <a:gd name="connsiteX3" fmla="*/ 5431 w 1780549"/>
                    <a:gd name="connsiteY3" fmla="*/ 1796025 h 2010173"/>
                    <a:gd name="connsiteX4" fmla="*/ 0 w 1780549"/>
                    <a:gd name="connsiteY4" fmla="*/ 1795751 h 2010173"/>
                    <a:gd name="connsiteX5" fmla="*/ 0 w 1780549"/>
                    <a:gd name="connsiteY5" fmla="*/ 0 h 2010173"/>
                    <a:gd name="connsiteX6" fmla="*/ 189035 w 1780549"/>
                    <a:gd name="connsiteY6" fmla="*/ 9546 h 2010173"/>
                    <a:gd name="connsiteX7" fmla="*/ 1653489 w 1780549"/>
                    <a:gd name="connsiteY7" fmla="*/ 621796 h 2010173"/>
                    <a:gd name="connsiteX8" fmla="*/ 1652914 w 1780549"/>
                    <a:gd name="connsiteY8" fmla="*/ 622342 h 2010173"/>
                    <a:gd name="connsiteX0" fmla="*/ 1607511 w 1672164"/>
                    <a:gd name="connsiteY0" fmla="*/ 911902 h 2010173"/>
                    <a:gd name="connsiteX1" fmla="*/ 507653 w 1672164"/>
                    <a:gd name="connsiteY1" fmla="*/ 2010173 h 2010173"/>
                    <a:gd name="connsiteX2" fmla="*/ 438289 w 1672164"/>
                    <a:gd name="connsiteY2" fmla="*/ 1952943 h 2010173"/>
                    <a:gd name="connsiteX3" fmla="*/ 5431 w 1672164"/>
                    <a:gd name="connsiteY3" fmla="*/ 1796025 h 2010173"/>
                    <a:gd name="connsiteX4" fmla="*/ 0 w 1672164"/>
                    <a:gd name="connsiteY4" fmla="*/ 1795751 h 2010173"/>
                    <a:gd name="connsiteX5" fmla="*/ 0 w 1672164"/>
                    <a:gd name="connsiteY5" fmla="*/ 0 h 2010173"/>
                    <a:gd name="connsiteX6" fmla="*/ 189035 w 1672164"/>
                    <a:gd name="connsiteY6" fmla="*/ 9546 h 2010173"/>
                    <a:gd name="connsiteX7" fmla="*/ 1653489 w 1672164"/>
                    <a:gd name="connsiteY7" fmla="*/ 621796 h 2010173"/>
                    <a:gd name="connsiteX8" fmla="*/ 1652914 w 1672164"/>
                    <a:gd name="connsiteY8" fmla="*/ 622342 h 2010173"/>
                    <a:gd name="connsiteX0" fmla="*/ 1585286 w 1672164"/>
                    <a:gd name="connsiteY0" fmla="*/ 934127 h 2010173"/>
                    <a:gd name="connsiteX1" fmla="*/ 507653 w 1672164"/>
                    <a:gd name="connsiteY1" fmla="*/ 2010173 h 2010173"/>
                    <a:gd name="connsiteX2" fmla="*/ 438289 w 1672164"/>
                    <a:gd name="connsiteY2" fmla="*/ 1952943 h 2010173"/>
                    <a:gd name="connsiteX3" fmla="*/ 5431 w 1672164"/>
                    <a:gd name="connsiteY3" fmla="*/ 1796025 h 2010173"/>
                    <a:gd name="connsiteX4" fmla="*/ 0 w 1672164"/>
                    <a:gd name="connsiteY4" fmla="*/ 1795751 h 2010173"/>
                    <a:gd name="connsiteX5" fmla="*/ 0 w 1672164"/>
                    <a:gd name="connsiteY5" fmla="*/ 0 h 2010173"/>
                    <a:gd name="connsiteX6" fmla="*/ 189035 w 1672164"/>
                    <a:gd name="connsiteY6" fmla="*/ 9546 h 2010173"/>
                    <a:gd name="connsiteX7" fmla="*/ 1653489 w 1672164"/>
                    <a:gd name="connsiteY7" fmla="*/ 621796 h 2010173"/>
                    <a:gd name="connsiteX8" fmla="*/ 1652914 w 1672164"/>
                    <a:gd name="connsiteY8" fmla="*/ 622342 h 2010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72164" h="2010173">
                      <a:moveTo>
                        <a:pt x="1585286" y="934127"/>
                      </a:moveTo>
                      <a:lnTo>
                        <a:pt x="507653" y="2010173"/>
                      </a:lnTo>
                      <a:lnTo>
                        <a:pt x="438289" y="1952943"/>
                      </a:lnTo>
                      <a:cubicBezTo>
                        <a:pt x="312277" y="1867811"/>
                        <a:pt x="164684" y="1812198"/>
                        <a:pt x="5431" y="1796025"/>
                      </a:cubicBezTo>
                      <a:lnTo>
                        <a:pt x="0" y="1795751"/>
                      </a:lnTo>
                      <a:lnTo>
                        <a:pt x="0" y="0"/>
                      </a:lnTo>
                      <a:lnTo>
                        <a:pt x="189035" y="9546"/>
                      </a:lnTo>
                      <a:cubicBezTo>
                        <a:pt x="742346" y="65738"/>
                        <a:pt x="1247044" y="286368"/>
                        <a:pt x="1653489" y="621796"/>
                      </a:cubicBezTo>
                      <a:cubicBezTo>
                        <a:pt x="1695842" y="660290"/>
                        <a:pt x="1652914" y="622342"/>
                        <a:pt x="1652914" y="622342"/>
                      </a:cubicBezTo>
                    </a:path>
                  </a:pathLst>
                </a:custGeom>
                <a:noFill/>
                <a:ln w="28575" algn="ctr">
                  <a:solidFill>
                    <a:srgbClr val="046A38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27" name="Isosceles Triangle 226"/>
                <p:cNvSpPr/>
                <p:nvPr/>
              </p:nvSpPr>
              <p:spPr bwMode="gray">
                <a:xfrm rot="7855756">
                  <a:off x="6329363" y="1317625"/>
                  <a:ext cx="132588" cy="114300"/>
                </a:xfrm>
                <a:prstGeom prst="triangle">
                  <a:avLst/>
                </a:prstGeom>
                <a:noFill/>
                <a:ln w="28575" algn="ctr">
                  <a:solidFill>
                    <a:srgbClr val="046A38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28" name="Oval 227"/>
                <p:cNvSpPr/>
                <p:nvPr/>
              </p:nvSpPr>
              <p:spPr bwMode="gray">
                <a:xfrm>
                  <a:off x="6235103" y="1522413"/>
                  <a:ext cx="115888" cy="115888"/>
                </a:xfrm>
                <a:prstGeom prst="ellipse">
                  <a:avLst/>
                </a:prstGeom>
                <a:noFill/>
                <a:ln w="28575" algn="ctr">
                  <a:solidFill>
                    <a:srgbClr val="046A38"/>
                  </a:solidFill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800" b="1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251" name="Group 250"/>
              <p:cNvGrpSpPr/>
              <p:nvPr/>
            </p:nvGrpSpPr>
            <p:grpSpPr>
              <a:xfrm flipH="1" flipV="1">
                <a:off x="1620013" y="521290"/>
                <a:ext cx="3313746" cy="5681204"/>
                <a:chOff x="4200876" y="690417"/>
                <a:chExt cx="3313746" cy="5681204"/>
              </a:xfrm>
            </p:grpSpPr>
            <p:grpSp>
              <p:nvGrpSpPr>
                <p:cNvPr id="252" name="Group 251"/>
                <p:cNvGrpSpPr/>
                <p:nvPr/>
              </p:nvGrpSpPr>
              <p:grpSpPr>
                <a:xfrm rot="2700000">
                  <a:off x="5614853" y="1908707"/>
                  <a:ext cx="1789366" cy="2010173"/>
                  <a:chOff x="4663441" y="690417"/>
                  <a:chExt cx="1789366" cy="2010173"/>
                </a:xfrm>
              </p:grpSpPr>
              <p:sp>
                <p:nvSpPr>
                  <p:cNvPr id="265" name="Freeform 264"/>
                  <p:cNvSpPr/>
                  <p:nvPr/>
                </p:nvSpPr>
                <p:spPr bwMode="gray">
                  <a:xfrm>
                    <a:off x="4663441" y="690417"/>
                    <a:ext cx="1672164" cy="2010173"/>
                  </a:xfrm>
                  <a:custGeom>
                    <a:avLst/>
                    <a:gdLst>
                      <a:gd name="connsiteX0" fmla="*/ 0 w 1780549"/>
                      <a:gd name="connsiteY0" fmla="*/ 0 h 2010173"/>
                      <a:gd name="connsiteX1" fmla="*/ 189035 w 1780549"/>
                      <a:gd name="connsiteY1" fmla="*/ 9546 h 2010173"/>
                      <a:gd name="connsiteX2" fmla="*/ 1653489 w 1780549"/>
                      <a:gd name="connsiteY2" fmla="*/ 621796 h 2010173"/>
                      <a:gd name="connsiteX3" fmla="*/ 1780549 w 1780549"/>
                      <a:gd name="connsiteY3" fmla="*/ 737277 h 2010173"/>
                      <a:gd name="connsiteX4" fmla="*/ 507653 w 1780549"/>
                      <a:gd name="connsiteY4" fmla="*/ 2010173 h 2010173"/>
                      <a:gd name="connsiteX5" fmla="*/ 438289 w 1780549"/>
                      <a:gd name="connsiteY5" fmla="*/ 1952943 h 2010173"/>
                      <a:gd name="connsiteX6" fmla="*/ 5431 w 1780549"/>
                      <a:gd name="connsiteY6" fmla="*/ 1796025 h 2010173"/>
                      <a:gd name="connsiteX7" fmla="*/ 0 w 1780549"/>
                      <a:gd name="connsiteY7" fmla="*/ 1795751 h 2010173"/>
                      <a:gd name="connsiteX8" fmla="*/ 0 w 1780549"/>
                      <a:gd name="connsiteY8" fmla="*/ 0 h 2010173"/>
                      <a:gd name="connsiteX0" fmla="*/ 1780549 w 1871989"/>
                      <a:gd name="connsiteY0" fmla="*/ 737277 h 2010173"/>
                      <a:gd name="connsiteX1" fmla="*/ 507653 w 1871989"/>
                      <a:gd name="connsiteY1" fmla="*/ 2010173 h 2010173"/>
                      <a:gd name="connsiteX2" fmla="*/ 438289 w 1871989"/>
                      <a:gd name="connsiteY2" fmla="*/ 1952943 h 2010173"/>
                      <a:gd name="connsiteX3" fmla="*/ 5431 w 1871989"/>
                      <a:gd name="connsiteY3" fmla="*/ 1796025 h 2010173"/>
                      <a:gd name="connsiteX4" fmla="*/ 0 w 1871989"/>
                      <a:gd name="connsiteY4" fmla="*/ 1795751 h 2010173"/>
                      <a:gd name="connsiteX5" fmla="*/ 0 w 1871989"/>
                      <a:gd name="connsiteY5" fmla="*/ 0 h 2010173"/>
                      <a:gd name="connsiteX6" fmla="*/ 189035 w 1871989"/>
                      <a:gd name="connsiteY6" fmla="*/ 9546 h 2010173"/>
                      <a:gd name="connsiteX7" fmla="*/ 1653489 w 1871989"/>
                      <a:gd name="connsiteY7" fmla="*/ 621796 h 2010173"/>
                      <a:gd name="connsiteX8" fmla="*/ 1871989 w 1871989"/>
                      <a:gd name="connsiteY8" fmla="*/ 828717 h 2010173"/>
                      <a:gd name="connsiteX0" fmla="*/ 1780549 w 1780549"/>
                      <a:gd name="connsiteY0" fmla="*/ 737277 h 2010173"/>
                      <a:gd name="connsiteX1" fmla="*/ 507653 w 1780549"/>
                      <a:gd name="connsiteY1" fmla="*/ 2010173 h 2010173"/>
                      <a:gd name="connsiteX2" fmla="*/ 438289 w 1780549"/>
                      <a:gd name="connsiteY2" fmla="*/ 1952943 h 2010173"/>
                      <a:gd name="connsiteX3" fmla="*/ 5431 w 1780549"/>
                      <a:gd name="connsiteY3" fmla="*/ 1796025 h 2010173"/>
                      <a:gd name="connsiteX4" fmla="*/ 0 w 1780549"/>
                      <a:gd name="connsiteY4" fmla="*/ 1795751 h 2010173"/>
                      <a:gd name="connsiteX5" fmla="*/ 0 w 1780549"/>
                      <a:gd name="connsiteY5" fmla="*/ 0 h 2010173"/>
                      <a:gd name="connsiteX6" fmla="*/ 189035 w 1780549"/>
                      <a:gd name="connsiteY6" fmla="*/ 9546 h 2010173"/>
                      <a:gd name="connsiteX7" fmla="*/ 1653489 w 1780549"/>
                      <a:gd name="connsiteY7" fmla="*/ 621796 h 2010173"/>
                      <a:gd name="connsiteX8" fmla="*/ 1652914 w 1780549"/>
                      <a:gd name="connsiteY8" fmla="*/ 622342 h 2010173"/>
                      <a:gd name="connsiteX0" fmla="*/ 1607511 w 1672164"/>
                      <a:gd name="connsiteY0" fmla="*/ 911902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  <a:gd name="connsiteX0" fmla="*/ 1585286 w 1672164"/>
                      <a:gd name="connsiteY0" fmla="*/ 934127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72164" h="2010173">
                        <a:moveTo>
                          <a:pt x="1585286" y="934127"/>
                        </a:moveTo>
                        <a:lnTo>
                          <a:pt x="507653" y="2010173"/>
                        </a:lnTo>
                        <a:lnTo>
                          <a:pt x="438289" y="1952943"/>
                        </a:lnTo>
                        <a:cubicBezTo>
                          <a:pt x="312277" y="1867811"/>
                          <a:pt x="164684" y="1812198"/>
                          <a:pt x="5431" y="1796025"/>
                        </a:cubicBezTo>
                        <a:lnTo>
                          <a:pt x="0" y="1795751"/>
                        </a:lnTo>
                        <a:lnTo>
                          <a:pt x="0" y="0"/>
                        </a:lnTo>
                        <a:lnTo>
                          <a:pt x="189035" y="9546"/>
                        </a:lnTo>
                        <a:cubicBezTo>
                          <a:pt x="742346" y="65738"/>
                          <a:pt x="1247044" y="286368"/>
                          <a:pt x="1653489" y="621796"/>
                        </a:cubicBezTo>
                        <a:cubicBezTo>
                          <a:pt x="1695842" y="660290"/>
                          <a:pt x="1652914" y="622342"/>
                          <a:pt x="1652914" y="622342"/>
                        </a:cubicBezTo>
                      </a:path>
                    </a:pathLst>
                  </a:custGeom>
                  <a:noFill/>
                  <a:ln w="28575" algn="ctr">
                    <a:solidFill>
                      <a:srgbClr val="004F59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6" name="Isosceles Triangle 265"/>
                  <p:cNvSpPr/>
                  <p:nvPr/>
                </p:nvSpPr>
                <p:spPr bwMode="gray">
                  <a:xfrm rot="7855756">
                    <a:off x="6329363" y="1317625"/>
                    <a:ext cx="132588" cy="114300"/>
                  </a:xfrm>
                  <a:prstGeom prst="triangle">
                    <a:avLst/>
                  </a:prstGeom>
                  <a:noFill/>
                  <a:ln w="28575" algn="ctr">
                    <a:solidFill>
                      <a:srgbClr val="004F59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7" name="Oval 266"/>
                  <p:cNvSpPr/>
                  <p:nvPr/>
                </p:nvSpPr>
                <p:spPr bwMode="gray">
                  <a:xfrm>
                    <a:off x="6235103" y="1522413"/>
                    <a:ext cx="115888" cy="115888"/>
                  </a:xfrm>
                  <a:prstGeom prst="ellipse">
                    <a:avLst/>
                  </a:prstGeom>
                  <a:noFill/>
                  <a:ln w="28575" algn="ctr">
                    <a:solidFill>
                      <a:srgbClr val="004F59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</p:grpSp>
            <p:grpSp>
              <p:nvGrpSpPr>
                <p:cNvPr id="253" name="Group 252"/>
                <p:cNvGrpSpPr/>
                <p:nvPr/>
              </p:nvGrpSpPr>
              <p:grpSpPr>
                <a:xfrm>
                  <a:off x="4663441" y="690417"/>
                  <a:ext cx="1789366" cy="2010173"/>
                  <a:chOff x="4663441" y="690417"/>
                  <a:chExt cx="1789366" cy="2010173"/>
                </a:xfrm>
              </p:grpSpPr>
              <p:sp>
                <p:nvSpPr>
                  <p:cNvPr id="262" name="Freeform 261"/>
                  <p:cNvSpPr/>
                  <p:nvPr/>
                </p:nvSpPr>
                <p:spPr bwMode="gray">
                  <a:xfrm>
                    <a:off x="4663441" y="690417"/>
                    <a:ext cx="1672164" cy="2010173"/>
                  </a:xfrm>
                  <a:custGeom>
                    <a:avLst/>
                    <a:gdLst>
                      <a:gd name="connsiteX0" fmla="*/ 0 w 1780549"/>
                      <a:gd name="connsiteY0" fmla="*/ 0 h 2010173"/>
                      <a:gd name="connsiteX1" fmla="*/ 189035 w 1780549"/>
                      <a:gd name="connsiteY1" fmla="*/ 9546 h 2010173"/>
                      <a:gd name="connsiteX2" fmla="*/ 1653489 w 1780549"/>
                      <a:gd name="connsiteY2" fmla="*/ 621796 h 2010173"/>
                      <a:gd name="connsiteX3" fmla="*/ 1780549 w 1780549"/>
                      <a:gd name="connsiteY3" fmla="*/ 737277 h 2010173"/>
                      <a:gd name="connsiteX4" fmla="*/ 507653 w 1780549"/>
                      <a:gd name="connsiteY4" fmla="*/ 2010173 h 2010173"/>
                      <a:gd name="connsiteX5" fmla="*/ 438289 w 1780549"/>
                      <a:gd name="connsiteY5" fmla="*/ 1952943 h 2010173"/>
                      <a:gd name="connsiteX6" fmla="*/ 5431 w 1780549"/>
                      <a:gd name="connsiteY6" fmla="*/ 1796025 h 2010173"/>
                      <a:gd name="connsiteX7" fmla="*/ 0 w 1780549"/>
                      <a:gd name="connsiteY7" fmla="*/ 1795751 h 2010173"/>
                      <a:gd name="connsiteX8" fmla="*/ 0 w 1780549"/>
                      <a:gd name="connsiteY8" fmla="*/ 0 h 2010173"/>
                      <a:gd name="connsiteX0" fmla="*/ 1780549 w 1871989"/>
                      <a:gd name="connsiteY0" fmla="*/ 737277 h 2010173"/>
                      <a:gd name="connsiteX1" fmla="*/ 507653 w 1871989"/>
                      <a:gd name="connsiteY1" fmla="*/ 2010173 h 2010173"/>
                      <a:gd name="connsiteX2" fmla="*/ 438289 w 1871989"/>
                      <a:gd name="connsiteY2" fmla="*/ 1952943 h 2010173"/>
                      <a:gd name="connsiteX3" fmla="*/ 5431 w 1871989"/>
                      <a:gd name="connsiteY3" fmla="*/ 1796025 h 2010173"/>
                      <a:gd name="connsiteX4" fmla="*/ 0 w 1871989"/>
                      <a:gd name="connsiteY4" fmla="*/ 1795751 h 2010173"/>
                      <a:gd name="connsiteX5" fmla="*/ 0 w 1871989"/>
                      <a:gd name="connsiteY5" fmla="*/ 0 h 2010173"/>
                      <a:gd name="connsiteX6" fmla="*/ 189035 w 1871989"/>
                      <a:gd name="connsiteY6" fmla="*/ 9546 h 2010173"/>
                      <a:gd name="connsiteX7" fmla="*/ 1653489 w 1871989"/>
                      <a:gd name="connsiteY7" fmla="*/ 621796 h 2010173"/>
                      <a:gd name="connsiteX8" fmla="*/ 1871989 w 1871989"/>
                      <a:gd name="connsiteY8" fmla="*/ 828717 h 2010173"/>
                      <a:gd name="connsiteX0" fmla="*/ 1780549 w 1780549"/>
                      <a:gd name="connsiteY0" fmla="*/ 737277 h 2010173"/>
                      <a:gd name="connsiteX1" fmla="*/ 507653 w 1780549"/>
                      <a:gd name="connsiteY1" fmla="*/ 2010173 h 2010173"/>
                      <a:gd name="connsiteX2" fmla="*/ 438289 w 1780549"/>
                      <a:gd name="connsiteY2" fmla="*/ 1952943 h 2010173"/>
                      <a:gd name="connsiteX3" fmla="*/ 5431 w 1780549"/>
                      <a:gd name="connsiteY3" fmla="*/ 1796025 h 2010173"/>
                      <a:gd name="connsiteX4" fmla="*/ 0 w 1780549"/>
                      <a:gd name="connsiteY4" fmla="*/ 1795751 h 2010173"/>
                      <a:gd name="connsiteX5" fmla="*/ 0 w 1780549"/>
                      <a:gd name="connsiteY5" fmla="*/ 0 h 2010173"/>
                      <a:gd name="connsiteX6" fmla="*/ 189035 w 1780549"/>
                      <a:gd name="connsiteY6" fmla="*/ 9546 h 2010173"/>
                      <a:gd name="connsiteX7" fmla="*/ 1653489 w 1780549"/>
                      <a:gd name="connsiteY7" fmla="*/ 621796 h 2010173"/>
                      <a:gd name="connsiteX8" fmla="*/ 1652914 w 1780549"/>
                      <a:gd name="connsiteY8" fmla="*/ 622342 h 2010173"/>
                      <a:gd name="connsiteX0" fmla="*/ 1607511 w 1672164"/>
                      <a:gd name="connsiteY0" fmla="*/ 911902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  <a:gd name="connsiteX0" fmla="*/ 1585286 w 1672164"/>
                      <a:gd name="connsiteY0" fmla="*/ 934127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72164" h="2010173">
                        <a:moveTo>
                          <a:pt x="1585286" y="934127"/>
                        </a:moveTo>
                        <a:lnTo>
                          <a:pt x="507653" y="2010173"/>
                        </a:lnTo>
                        <a:lnTo>
                          <a:pt x="438289" y="1952943"/>
                        </a:lnTo>
                        <a:cubicBezTo>
                          <a:pt x="312277" y="1867811"/>
                          <a:pt x="164684" y="1812198"/>
                          <a:pt x="5431" y="1796025"/>
                        </a:cubicBezTo>
                        <a:lnTo>
                          <a:pt x="0" y="1795751"/>
                        </a:lnTo>
                        <a:lnTo>
                          <a:pt x="0" y="0"/>
                        </a:lnTo>
                        <a:lnTo>
                          <a:pt x="189035" y="9546"/>
                        </a:lnTo>
                        <a:cubicBezTo>
                          <a:pt x="742346" y="65738"/>
                          <a:pt x="1247044" y="286368"/>
                          <a:pt x="1653489" y="621796"/>
                        </a:cubicBezTo>
                        <a:cubicBezTo>
                          <a:pt x="1695842" y="660290"/>
                          <a:pt x="1652914" y="622342"/>
                          <a:pt x="1652914" y="622342"/>
                        </a:cubicBezTo>
                      </a:path>
                    </a:pathLst>
                  </a:custGeom>
                  <a:noFill/>
                  <a:ln w="28575" algn="ctr">
                    <a:solidFill>
                      <a:schemeClr val="accent1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3" name="Isosceles Triangle 262"/>
                  <p:cNvSpPr/>
                  <p:nvPr/>
                </p:nvSpPr>
                <p:spPr bwMode="gray">
                  <a:xfrm rot="7855756">
                    <a:off x="6329363" y="1317625"/>
                    <a:ext cx="132588" cy="114300"/>
                  </a:xfrm>
                  <a:prstGeom prst="triangle">
                    <a:avLst/>
                  </a:prstGeom>
                  <a:noFill/>
                  <a:ln w="28575" algn="ctr">
                    <a:solidFill>
                      <a:schemeClr val="accent1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4" name="Oval 263"/>
                  <p:cNvSpPr/>
                  <p:nvPr/>
                </p:nvSpPr>
                <p:spPr bwMode="gray">
                  <a:xfrm>
                    <a:off x="6235103" y="1522413"/>
                    <a:ext cx="115888" cy="115888"/>
                  </a:xfrm>
                  <a:prstGeom prst="ellipse">
                    <a:avLst/>
                  </a:prstGeom>
                  <a:noFill/>
                  <a:ln w="28575" algn="ctr">
                    <a:solidFill>
                      <a:schemeClr val="accent1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</p:grpSp>
            <p:grpSp>
              <p:nvGrpSpPr>
                <p:cNvPr id="254" name="Group 253"/>
                <p:cNvGrpSpPr/>
                <p:nvPr/>
              </p:nvGrpSpPr>
              <p:grpSpPr>
                <a:xfrm rot="5400000">
                  <a:off x="5415430" y="3420975"/>
                  <a:ext cx="1789366" cy="2010173"/>
                  <a:chOff x="4663441" y="690417"/>
                  <a:chExt cx="1789366" cy="2010173"/>
                </a:xfrm>
              </p:grpSpPr>
              <p:sp>
                <p:nvSpPr>
                  <p:cNvPr id="259" name="Freeform 258"/>
                  <p:cNvSpPr/>
                  <p:nvPr/>
                </p:nvSpPr>
                <p:spPr bwMode="gray">
                  <a:xfrm>
                    <a:off x="4663441" y="690417"/>
                    <a:ext cx="1672164" cy="2010173"/>
                  </a:xfrm>
                  <a:custGeom>
                    <a:avLst/>
                    <a:gdLst>
                      <a:gd name="connsiteX0" fmla="*/ 0 w 1780549"/>
                      <a:gd name="connsiteY0" fmla="*/ 0 h 2010173"/>
                      <a:gd name="connsiteX1" fmla="*/ 189035 w 1780549"/>
                      <a:gd name="connsiteY1" fmla="*/ 9546 h 2010173"/>
                      <a:gd name="connsiteX2" fmla="*/ 1653489 w 1780549"/>
                      <a:gd name="connsiteY2" fmla="*/ 621796 h 2010173"/>
                      <a:gd name="connsiteX3" fmla="*/ 1780549 w 1780549"/>
                      <a:gd name="connsiteY3" fmla="*/ 737277 h 2010173"/>
                      <a:gd name="connsiteX4" fmla="*/ 507653 w 1780549"/>
                      <a:gd name="connsiteY4" fmla="*/ 2010173 h 2010173"/>
                      <a:gd name="connsiteX5" fmla="*/ 438289 w 1780549"/>
                      <a:gd name="connsiteY5" fmla="*/ 1952943 h 2010173"/>
                      <a:gd name="connsiteX6" fmla="*/ 5431 w 1780549"/>
                      <a:gd name="connsiteY6" fmla="*/ 1796025 h 2010173"/>
                      <a:gd name="connsiteX7" fmla="*/ 0 w 1780549"/>
                      <a:gd name="connsiteY7" fmla="*/ 1795751 h 2010173"/>
                      <a:gd name="connsiteX8" fmla="*/ 0 w 1780549"/>
                      <a:gd name="connsiteY8" fmla="*/ 0 h 2010173"/>
                      <a:gd name="connsiteX0" fmla="*/ 1780549 w 1871989"/>
                      <a:gd name="connsiteY0" fmla="*/ 737277 h 2010173"/>
                      <a:gd name="connsiteX1" fmla="*/ 507653 w 1871989"/>
                      <a:gd name="connsiteY1" fmla="*/ 2010173 h 2010173"/>
                      <a:gd name="connsiteX2" fmla="*/ 438289 w 1871989"/>
                      <a:gd name="connsiteY2" fmla="*/ 1952943 h 2010173"/>
                      <a:gd name="connsiteX3" fmla="*/ 5431 w 1871989"/>
                      <a:gd name="connsiteY3" fmla="*/ 1796025 h 2010173"/>
                      <a:gd name="connsiteX4" fmla="*/ 0 w 1871989"/>
                      <a:gd name="connsiteY4" fmla="*/ 1795751 h 2010173"/>
                      <a:gd name="connsiteX5" fmla="*/ 0 w 1871989"/>
                      <a:gd name="connsiteY5" fmla="*/ 0 h 2010173"/>
                      <a:gd name="connsiteX6" fmla="*/ 189035 w 1871989"/>
                      <a:gd name="connsiteY6" fmla="*/ 9546 h 2010173"/>
                      <a:gd name="connsiteX7" fmla="*/ 1653489 w 1871989"/>
                      <a:gd name="connsiteY7" fmla="*/ 621796 h 2010173"/>
                      <a:gd name="connsiteX8" fmla="*/ 1871989 w 1871989"/>
                      <a:gd name="connsiteY8" fmla="*/ 828717 h 2010173"/>
                      <a:gd name="connsiteX0" fmla="*/ 1780549 w 1780549"/>
                      <a:gd name="connsiteY0" fmla="*/ 737277 h 2010173"/>
                      <a:gd name="connsiteX1" fmla="*/ 507653 w 1780549"/>
                      <a:gd name="connsiteY1" fmla="*/ 2010173 h 2010173"/>
                      <a:gd name="connsiteX2" fmla="*/ 438289 w 1780549"/>
                      <a:gd name="connsiteY2" fmla="*/ 1952943 h 2010173"/>
                      <a:gd name="connsiteX3" fmla="*/ 5431 w 1780549"/>
                      <a:gd name="connsiteY3" fmla="*/ 1796025 h 2010173"/>
                      <a:gd name="connsiteX4" fmla="*/ 0 w 1780549"/>
                      <a:gd name="connsiteY4" fmla="*/ 1795751 h 2010173"/>
                      <a:gd name="connsiteX5" fmla="*/ 0 w 1780549"/>
                      <a:gd name="connsiteY5" fmla="*/ 0 h 2010173"/>
                      <a:gd name="connsiteX6" fmla="*/ 189035 w 1780549"/>
                      <a:gd name="connsiteY6" fmla="*/ 9546 h 2010173"/>
                      <a:gd name="connsiteX7" fmla="*/ 1653489 w 1780549"/>
                      <a:gd name="connsiteY7" fmla="*/ 621796 h 2010173"/>
                      <a:gd name="connsiteX8" fmla="*/ 1652914 w 1780549"/>
                      <a:gd name="connsiteY8" fmla="*/ 622342 h 2010173"/>
                      <a:gd name="connsiteX0" fmla="*/ 1607511 w 1672164"/>
                      <a:gd name="connsiteY0" fmla="*/ 911902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  <a:gd name="connsiteX0" fmla="*/ 1585286 w 1672164"/>
                      <a:gd name="connsiteY0" fmla="*/ 934127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72164" h="2010173">
                        <a:moveTo>
                          <a:pt x="1585286" y="934127"/>
                        </a:moveTo>
                        <a:lnTo>
                          <a:pt x="507653" y="2010173"/>
                        </a:lnTo>
                        <a:lnTo>
                          <a:pt x="438289" y="1952943"/>
                        </a:lnTo>
                        <a:cubicBezTo>
                          <a:pt x="312277" y="1867811"/>
                          <a:pt x="164684" y="1812198"/>
                          <a:pt x="5431" y="1796025"/>
                        </a:cubicBezTo>
                        <a:lnTo>
                          <a:pt x="0" y="1795751"/>
                        </a:lnTo>
                        <a:lnTo>
                          <a:pt x="0" y="0"/>
                        </a:lnTo>
                        <a:lnTo>
                          <a:pt x="189035" y="9546"/>
                        </a:lnTo>
                        <a:cubicBezTo>
                          <a:pt x="742346" y="65738"/>
                          <a:pt x="1247044" y="286368"/>
                          <a:pt x="1653489" y="621796"/>
                        </a:cubicBezTo>
                        <a:cubicBezTo>
                          <a:pt x="1695842" y="660290"/>
                          <a:pt x="1652914" y="622342"/>
                          <a:pt x="1652914" y="622342"/>
                        </a:cubicBezTo>
                      </a:path>
                    </a:pathLst>
                  </a:custGeom>
                  <a:noFill/>
                  <a:ln w="28575" algn="ctr">
                    <a:solidFill>
                      <a:srgbClr val="046A38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0" name="Isosceles Triangle 259"/>
                  <p:cNvSpPr/>
                  <p:nvPr/>
                </p:nvSpPr>
                <p:spPr bwMode="gray">
                  <a:xfrm rot="7855756">
                    <a:off x="6329363" y="1317625"/>
                    <a:ext cx="132588" cy="114300"/>
                  </a:xfrm>
                  <a:prstGeom prst="triangle">
                    <a:avLst/>
                  </a:prstGeom>
                  <a:noFill/>
                  <a:ln w="28575" algn="ctr">
                    <a:solidFill>
                      <a:srgbClr val="046A38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1" name="Oval 260"/>
                  <p:cNvSpPr/>
                  <p:nvPr/>
                </p:nvSpPr>
                <p:spPr bwMode="gray">
                  <a:xfrm>
                    <a:off x="6235103" y="1522413"/>
                    <a:ext cx="115888" cy="115888"/>
                  </a:xfrm>
                  <a:prstGeom prst="ellipse">
                    <a:avLst/>
                  </a:prstGeom>
                  <a:noFill/>
                  <a:ln w="28575" algn="ctr">
                    <a:solidFill>
                      <a:srgbClr val="046A38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</p:grpSp>
            <p:grpSp>
              <p:nvGrpSpPr>
                <p:cNvPr id="255" name="Group 254"/>
                <p:cNvGrpSpPr/>
                <p:nvPr/>
              </p:nvGrpSpPr>
              <p:grpSpPr>
                <a:xfrm rot="8100000">
                  <a:off x="4200876" y="4361448"/>
                  <a:ext cx="1789366" cy="2010173"/>
                  <a:chOff x="4663441" y="690417"/>
                  <a:chExt cx="1789366" cy="2010173"/>
                </a:xfrm>
              </p:grpSpPr>
              <p:sp>
                <p:nvSpPr>
                  <p:cNvPr id="256" name="Freeform 255"/>
                  <p:cNvSpPr/>
                  <p:nvPr/>
                </p:nvSpPr>
                <p:spPr bwMode="gray">
                  <a:xfrm>
                    <a:off x="4663441" y="690417"/>
                    <a:ext cx="1672164" cy="2010173"/>
                  </a:xfrm>
                  <a:custGeom>
                    <a:avLst/>
                    <a:gdLst>
                      <a:gd name="connsiteX0" fmla="*/ 0 w 1780549"/>
                      <a:gd name="connsiteY0" fmla="*/ 0 h 2010173"/>
                      <a:gd name="connsiteX1" fmla="*/ 189035 w 1780549"/>
                      <a:gd name="connsiteY1" fmla="*/ 9546 h 2010173"/>
                      <a:gd name="connsiteX2" fmla="*/ 1653489 w 1780549"/>
                      <a:gd name="connsiteY2" fmla="*/ 621796 h 2010173"/>
                      <a:gd name="connsiteX3" fmla="*/ 1780549 w 1780549"/>
                      <a:gd name="connsiteY3" fmla="*/ 737277 h 2010173"/>
                      <a:gd name="connsiteX4" fmla="*/ 507653 w 1780549"/>
                      <a:gd name="connsiteY4" fmla="*/ 2010173 h 2010173"/>
                      <a:gd name="connsiteX5" fmla="*/ 438289 w 1780549"/>
                      <a:gd name="connsiteY5" fmla="*/ 1952943 h 2010173"/>
                      <a:gd name="connsiteX6" fmla="*/ 5431 w 1780549"/>
                      <a:gd name="connsiteY6" fmla="*/ 1796025 h 2010173"/>
                      <a:gd name="connsiteX7" fmla="*/ 0 w 1780549"/>
                      <a:gd name="connsiteY7" fmla="*/ 1795751 h 2010173"/>
                      <a:gd name="connsiteX8" fmla="*/ 0 w 1780549"/>
                      <a:gd name="connsiteY8" fmla="*/ 0 h 2010173"/>
                      <a:gd name="connsiteX0" fmla="*/ 1780549 w 1871989"/>
                      <a:gd name="connsiteY0" fmla="*/ 737277 h 2010173"/>
                      <a:gd name="connsiteX1" fmla="*/ 507653 w 1871989"/>
                      <a:gd name="connsiteY1" fmla="*/ 2010173 h 2010173"/>
                      <a:gd name="connsiteX2" fmla="*/ 438289 w 1871989"/>
                      <a:gd name="connsiteY2" fmla="*/ 1952943 h 2010173"/>
                      <a:gd name="connsiteX3" fmla="*/ 5431 w 1871989"/>
                      <a:gd name="connsiteY3" fmla="*/ 1796025 h 2010173"/>
                      <a:gd name="connsiteX4" fmla="*/ 0 w 1871989"/>
                      <a:gd name="connsiteY4" fmla="*/ 1795751 h 2010173"/>
                      <a:gd name="connsiteX5" fmla="*/ 0 w 1871989"/>
                      <a:gd name="connsiteY5" fmla="*/ 0 h 2010173"/>
                      <a:gd name="connsiteX6" fmla="*/ 189035 w 1871989"/>
                      <a:gd name="connsiteY6" fmla="*/ 9546 h 2010173"/>
                      <a:gd name="connsiteX7" fmla="*/ 1653489 w 1871989"/>
                      <a:gd name="connsiteY7" fmla="*/ 621796 h 2010173"/>
                      <a:gd name="connsiteX8" fmla="*/ 1871989 w 1871989"/>
                      <a:gd name="connsiteY8" fmla="*/ 828717 h 2010173"/>
                      <a:gd name="connsiteX0" fmla="*/ 1780549 w 1780549"/>
                      <a:gd name="connsiteY0" fmla="*/ 737277 h 2010173"/>
                      <a:gd name="connsiteX1" fmla="*/ 507653 w 1780549"/>
                      <a:gd name="connsiteY1" fmla="*/ 2010173 h 2010173"/>
                      <a:gd name="connsiteX2" fmla="*/ 438289 w 1780549"/>
                      <a:gd name="connsiteY2" fmla="*/ 1952943 h 2010173"/>
                      <a:gd name="connsiteX3" fmla="*/ 5431 w 1780549"/>
                      <a:gd name="connsiteY3" fmla="*/ 1796025 h 2010173"/>
                      <a:gd name="connsiteX4" fmla="*/ 0 w 1780549"/>
                      <a:gd name="connsiteY4" fmla="*/ 1795751 h 2010173"/>
                      <a:gd name="connsiteX5" fmla="*/ 0 w 1780549"/>
                      <a:gd name="connsiteY5" fmla="*/ 0 h 2010173"/>
                      <a:gd name="connsiteX6" fmla="*/ 189035 w 1780549"/>
                      <a:gd name="connsiteY6" fmla="*/ 9546 h 2010173"/>
                      <a:gd name="connsiteX7" fmla="*/ 1653489 w 1780549"/>
                      <a:gd name="connsiteY7" fmla="*/ 621796 h 2010173"/>
                      <a:gd name="connsiteX8" fmla="*/ 1652914 w 1780549"/>
                      <a:gd name="connsiteY8" fmla="*/ 622342 h 2010173"/>
                      <a:gd name="connsiteX0" fmla="*/ 1607511 w 1672164"/>
                      <a:gd name="connsiteY0" fmla="*/ 911902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  <a:gd name="connsiteX0" fmla="*/ 1585286 w 1672164"/>
                      <a:gd name="connsiteY0" fmla="*/ 934127 h 2010173"/>
                      <a:gd name="connsiteX1" fmla="*/ 507653 w 1672164"/>
                      <a:gd name="connsiteY1" fmla="*/ 2010173 h 2010173"/>
                      <a:gd name="connsiteX2" fmla="*/ 438289 w 1672164"/>
                      <a:gd name="connsiteY2" fmla="*/ 1952943 h 2010173"/>
                      <a:gd name="connsiteX3" fmla="*/ 5431 w 1672164"/>
                      <a:gd name="connsiteY3" fmla="*/ 1796025 h 2010173"/>
                      <a:gd name="connsiteX4" fmla="*/ 0 w 1672164"/>
                      <a:gd name="connsiteY4" fmla="*/ 1795751 h 2010173"/>
                      <a:gd name="connsiteX5" fmla="*/ 0 w 1672164"/>
                      <a:gd name="connsiteY5" fmla="*/ 0 h 2010173"/>
                      <a:gd name="connsiteX6" fmla="*/ 189035 w 1672164"/>
                      <a:gd name="connsiteY6" fmla="*/ 9546 h 2010173"/>
                      <a:gd name="connsiteX7" fmla="*/ 1653489 w 1672164"/>
                      <a:gd name="connsiteY7" fmla="*/ 621796 h 2010173"/>
                      <a:gd name="connsiteX8" fmla="*/ 1652914 w 1672164"/>
                      <a:gd name="connsiteY8" fmla="*/ 622342 h 20101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72164" h="2010173">
                        <a:moveTo>
                          <a:pt x="1585286" y="934127"/>
                        </a:moveTo>
                        <a:lnTo>
                          <a:pt x="507653" y="2010173"/>
                        </a:lnTo>
                        <a:lnTo>
                          <a:pt x="438289" y="1952943"/>
                        </a:lnTo>
                        <a:cubicBezTo>
                          <a:pt x="312277" y="1867811"/>
                          <a:pt x="164684" y="1812198"/>
                          <a:pt x="5431" y="1796025"/>
                        </a:cubicBezTo>
                        <a:lnTo>
                          <a:pt x="0" y="1795751"/>
                        </a:lnTo>
                        <a:lnTo>
                          <a:pt x="0" y="0"/>
                        </a:lnTo>
                        <a:lnTo>
                          <a:pt x="189035" y="9546"/>
                        </a:lnTo>
                        <a:cubicBezTo>
                          <a:pt x="742346" y="65738"/>
                          <a:pt x="1247044" y="286368"/>
                          <a:pt x="1653489" y="621796"/>
                        </a:cubicBezTo>
                        <a:cubicBezTo>
                          <a:pt x="1695842" y="660290"/>
                          <a:pt x="1652914" y="622342"/>
                          <a:pt x="1652914" y="622342"/>
                        </a:cubicBezTo>
                      </a:path>
                    </a:pathLst>
                  </a:custGeom>
                  <a:noFill/>
                  <a:ln w="28575" algn="ctr">
                    <a:solidFill>
                      <a:schemeClr val="accent5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7" name="Isosceles Triangle 256"/>
                  <p:cNvSpPr/>
                  <p:nvPr/>
                </p:nvSpPr>
                <p:spPr bwMode="gray">
                  <a:xfrm rot="7855756">
                    <a:off x="6329363" y="1317625"/>
                    <a:ext cx="132588" cy="114300"/>
                  </a:xfrm>
                  <a:prstGeom prst="triangle">
                    <a:avLst/>
                  </a:prstGeom>
                  <a:noFill/>
                  <a:ln w="28575" algn="ctr">
                    <a:solidFill>
                      <a:schemeClr val="accent5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8" name="Oval 257"/>
                  <p:cNvSpPr/>
                  <p:nvPr/>
                </p:nvSpPr>
                <p:spPr bwMode="gray">
                  <a:xfrm>
                    <a:off x="6235103" y="1522413"/>
                    <a:ext cx="115888" cy="115888"/>
                  </a:xfrm>
                  <a:prstGeom prst="ellipse">
                    <a:avLst/>
                  </a:prstGeom>
                  <a:noFill/>
                  <a:ln w="28575" algn="ctr">
                    <a:solidFill>
                      <a:schemeClr val="accent5"/>
                    </a:solidFill>
                    <a:miter lim="800000"/>
                    <a:headEnd/>
                    <a:tailEnd/>
                  </a:ln>
                </p:spPr>
                <p:txBody>
                  <a:bodyPr wrap="square" lIns="66675" tIns="66675" rIns="66675" bIns="66675" rtlCol="0" anchor="ctr"/>
                  <a:lstStyle/>
                  <a:p>
                    <a:pPr algn="ctr" defTabSz="685800">
                      <a:lnSpc>
                        <a:spcPct val="106000"/>
                      </a:lnSpc>
                      <a:defRPr/>
                    </a:pPr>
                    <a:endParaRPr lang="en-US" sz="800" b="1">
                      <a:solidFill>
                        <a:prstClr val="white"/>
                      </a:solidFill>
                    </a:endParaRPr>
                  </a:p>
                </p:txBody>
              </p:sp>
            </p:grpSp>
          </p:grpSp>
          <p:grpSp>
            <p:nvGrpSpPr>
              <p:cNvPr id="270" name="Group 432"/>
              <p:cNvGrpSpPr>
                <a:grpSpLocks noChangeAspect="1"/>
              </p:cNvGrpSpPr>
              <p:nvPr/>
            </p:nvGrpSpPr>
            <p:grpSpPr bwMode="auto">
              <a:xfrm>
                <a:off x="5189463" y="1095941"/>
                <a:ext cx="455860" cy="457199"/>
                <a:chOff x="3505" y="1546"/>
                <a:chExt cx="340" cy="341"/>
              </a:xfrm>
              <a:solidFill>
                <a:schemeClr val="accent1"/>
              </a:solidFill>
            </p:grpSpPr>
            <p:sp>
              <p:nvSpPr>
                <p:cNvPr id="271" name="Freeform 433"/>
                <p:cNvSpPr>
                  <a:spLocks noEditPoints="1"/>
                </p:cNvSpPr>
                <p:nvPr/>
              </p:nvSpPr>
              <p:spPr bwMode="auto">
                <a:xfrm>
                  <a:off x="3569" y="1610"/>
                  <a:ext cx="212" cy="213"/>
                </a:xfrm>
                <a:custGeom>
                  <a:avLst/>
                  <a:gdLst>
                    <a:gd name="T0" fmla="*/ 309 w 320"/>
                    <a:gd name="T1" fmla="*/ 149 h 320"/>
                    <a:gd name="T2" fmla="*/ 287 w 320"/>
                    <a:gd name="T3" fmla="*/ 149 h 320"/>
                    <a:gd name="T4" fmla="*/ 170 w 320"/>
                    <a:gd name="T5" fmla="*/ 32 h 320"/>
                    <a:gd name="T6" fmla="*/ 170 w 320"/>
                    <a:gd name="T7" fmla="*/ 10 h 320"/>
                    <a:gd name="T8" fmla="*/ 160 w 320"/>
                    <a:gd name="T9" fmla="*/ 0 h 320"/>
                    <a:gd name="T10" fmla="*/ 149 w 320"/>
                    <a:gd name="T11" fmla="*/ 10 h 320"/>
                    <a:gd name="T12" fmla="*/ 149 w 320"/>
                    <a:gd name="T13" fmla="*/ 32 h 320"/>
                    <a:gd name="T14" fmla="*/ 32 w 320"/>
                    <a:gd name="T15" fmla="*/ 149 h 320"/>
                    <a:gd name="T16" fmla="*/ 10 w 320"/>
                    <a:gd name="T17" fmla="*/ 149 h 320"/>
                    <a:gd name="T18" fmla="*/ 0 w 320"/>
                    <a:gd name="T19" fmla="*/ 160 h 320"/>
                    <a:gd name="T20" fmla="*/ 10 w 320"/>
                    <a:gd name="T21" fmla="*/ 170 h 320"/>
                    <a:gd name="T22" fmla="*/ 32 w 320"/>
                    <a:gd name="T23" fmla="*/ 170 h 320"/>
                    <a:gd name="T24" fmla="*/ 149 w 320"/>
                    <a:gd name="T25" fmla="*/ 287 h 320"/>
                    <a:gd name="T26" fmla="*/ 149 w 320"/>
                    <a:gd name="T27" fmla="*/ 309 h 320"/>
                    <a:gd name="T28" fmla="*/ 160 w 320"/>
                    <a:gd name="T29" fmla="*/ 320 h 320"/>
                    <a:gd name="T30" fmla="*/ 170 w 320"/>
                    <a:gd name="T31" fmla="*/ 309 h 320"/>
                    <a:gd name="T32" fmla="*/ 170 w 320"/>
                    <a:gd name="T33" fmla="*/ 287 h 320"/>
                    <a:gd name="T34" fmla="*/ 287 w 320"/>
                    <a:gd name="T35" fmla="*/ 170 h 320"/>
                    <a:gd name="T36" fmla="*/ 309 w 320"/>
                    <a:gd name="T37" fmla="*/ 170 h 320"/>
                    <a:gd name="T38" fmla="*/ 320 w 320"/>
                    <a:gd name="T39" fmla="*/ 160 h 320"/>
                    <a:gd name="T40" fmla="*/ 309 w 320"/>
                    <a:gd name="T41" fmla="*/ 149 h 320"/>
                    <a:gd name="T42" fmla="*/ 266 w 320"/>
                    <a:gd name="T43" fmla="*/ 149 h 320"/>
                    <a:gd name="T44" fmla="*/ 233 w 320"/>
                    <a:gd name="T45" fmla="*/ 149 h 320"/>
                    <a:gd name="T46" fmla="*/ 170 w 320"/>
                    <a:gd name="T47" fmla="*/ 86 h 320"/>
                    <a:gd name="T48" fmla="*/ 170 w 320"/>
                    <a:gd name="T49" fmla="*/ 54 h 320"/>
                    <a:gd name="T50" fmla="*/ 266 w 320"/>
                    <a:gd name="T51" fmla="*/ 149 h 320"/>
                    <a:gd name="T52" fmla="*/ 149 w 320"/>
                    <a:gd name="T53" fmla="*/ 149 h 320"/>
                    <a:gd name="T54" fmla="*/ 107 w 320"/>
                    <a:gd name="T55" fmla="*/ 149 h 320"/>
                    <a:gd name="T56" fmla="*/ 149 w 320"/>
                    <a:gd name="T57" fmla="*/ 107 h 320"/>
                    <a:gd name="T58" fmla="*/ 149 w 320"/>
                    <a:gd name="T59" fmla="*/ 149 h 320"/>
                    <a:gd name="T60" fmla="*/ 149 w 320"/>
                    <a:gd name="T61" fmla="*/ 170 h 320"/>
                    <a:gd name="T62" fmla="*/ 149 w 320"/>
                    <a:gd name="T63" fmla="*/ 212 h 320"/>
                    <a:gd name="T64" fmla="*/ 107 w 320"/>
                    <a:gd name="T65" fmla="*/ 170 h 320"/>
                    <a:gd name="T66" fmla="*/ 149 w 320"/>
                    <a:gd name="T67" fmla="*/ 170 h 320"/>
                    <a:gd name="T68" fmla="*/ 170 w 320"/>
                    <a:gd name="T69" fmla="*/ 170 h 320"/>
                    <a:gd name="T70" fmla="*/ 212 w 320"/>
                    <a:gd name="T71" fmla="*/ 170 h 320"/>
                    <a:gd name="T72" fmla="*/ 170 w 320"/>
                    <a:gd name="T73" fmla="*/ 212 h 320"/>
                    <a:gd name="T74" fmla="*/ 170 w 320"/>
                    <a:gd name="T75" fmla="*/ 170 h 320"/>
                    <a:gd name="T76" fmla="*/ 170 w 320"/>
                    <a:gd name="T77" fmla="*/ 149 h 320"/>
                    <a:gd name="T78" fmla="*/ 170 w 320"/>
                    <a:gd name="T79" fmla="*/ 107 h 320"/>
                    <a:gd name="T80" fmla="*/ 212 w 320"/>
                    <a:gd name="T81" fmla="*/ 149 h 320"/>
                    <a:gd name="T82" fmla="*/ 170 w 320"/>
                    <a:gd name="T83" fmla="*/ 149 h 320"/>
                    <a:gd name="T84" fmla="*/ 149 w 320"/>
                    <a:gd name="T85" fmla="*/ 54 h 320"/>
                    <a:gd name="T86" fmla="*/ 149 w 320"/>
                    <a:gd name="T87" fmla="*/ 86 h 320"/>
                    <a:gd name="T88" fmla="*/ 86 w 320"/>
                    <a:gd name="T89" fmla="*/ 149 h 320"/>
                    <a:gd name="T90" fmla="*/ 54 w 320"/>
                    <a:gd name="T91" fmla="*/ 149 h 320"/>
                    <a:gd name="T92" fmla="*/ 149 w 320"/>
                    <a:gd name="T93" fmla="*/ 54 h 320"/>
                    <a:gd name="T94" fmla="*/ 54 w 320"/>
                    <a:gd name="T95" fmla="*/ 170 h 320"/>
                    <a:gd name="T96" fmla="*/ 86 w 320"/>
                    <a:gd name="T97" fmla="*/ 170 h 320"/>
                    <a:gd name="T98" fmla="*/ 149 w 320"/>
                    <a:gd name="T99" fmla="*/ 233 h 320"/>
                    <a:gd name="T100" fmla="*/ 149 w 320"/>
                    <a:gd name="T101" fmla="*/ 266 h 320"/>
                    <a:gd name="T102" fmla="*/ 54 w 320"/>
                    <a:gd name="T103" fmla="*/ 170 h 320"/>
                    <a:gd name="T104" fmla="*/ 170 w 320"/>
                    <a:gd name="T105" fmla="*/ 266 h 320"/>
                    <a:gd name="T106" fmla="*/ 170 w 320"/>
                    <a:gd name="T107" fmla="*/ 233 h 320"/>
                    <a:gd name="T108" fmla="*/ 233 w 320"/>
                    <a:gd name="T109" fmla="*/ 170 h 320"/>
                    <a:gd name="T110" fmla="*/ 266 w 320"/>
                    <a:gd name="T111" fmla="*/ 170 h 320"/>
                    <a:gd name="T112" fmla="*/ 170 w 320"/>
                    <a:gd name="T113" fmla="*/ 266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20" h="320">
                      <a:moveTo>
                        <a:pt x="309" y="149"/>
                      </a:moveTo>
                      <a:cubicBezTo>
                        <a:pt x="287" y="149"/>
                        <a:pt x="287" y="149"/>
                        <a:pt x="287" y="149"/>
                      </a:cubicBezTo>
                      <a:cubicBezTo>
                        <a:pt x="282" y="87"/>
                        <a:pt x="232" y="37"/>
                        <a:pt x="170" y="32"/>
                      </a:cubicBezTo>
                      <a:cubicBezTo>
                        <a:pt x="170" y="10"/>
                        <a:pt x="170" y="10"/>
                        <a:pt x="170" y="10"/>
                      </a:cubicBezTo>
                      <a:cubicBezTo>
                        <a:pt x="170" y="4"/>
                        <a:pt x="166" y="0"/>
                        <a:pt x="160" y="0"/>
                      </a:cubicBezTo>
                      <a:cubicBezTo>
                        <a:pt x="154" y="0"/>
                        <a:pt x="149" y="4"/>
                        <a:pt x="149" y="10"/>
                      </a:cubicBezTo>
                      <a:cubicBezTo>
                        <a:pt x="149" y="32"/>
                        <a:pt x="149" y="32"/>
                        <a:pt x="149" y="32"/>
                      </a:cubicBezTo>
                      <a:cubicBezTo>
                        <a:pt x="87" y="37"/>
                        <a:pt x="37" y="87"/>
                        <a:pt x="32" y="149"/>
                      </a:cubicBezTo>
                      <a:cubicBezTo>
                        <a:pt x="10" y="149"/>
                        <a:pt x="10" y="149"/>
                        <a:pt x="10" y="149"/>
                      </a:cubicBezTo>
                      <a:cubicBezTo>
                        <a:pt x="4" y="149"/>
                        <a:pt x="0" y="154"/>
                        <a:pt x="0" y="160"/>
                      </a:cubicBezTo>
                      <a:cubicBezTo>
                        <a:pt x="0" y="166"/>
                        <a:pt x="4" y="170"/>
                        <a:pt x="10" y="170"/>
                      </a:cubicBezTo>
                      <a:cubicBezTo>
                        <a:pt x="32" y="170"/>
                        <a:pt x="32" y="170"/>
                        <a:pt x="32" y="170"/>
                      </a:cubicBezTo>
                      <a:cubicBezTo>
                        <a:pt x="37" y="232"/>
                        <a:pt x="87" y="282"/>
                        <a:pt x="149" y="287"/>
                      </a:cubicBezTo>
                      <a:cubicBezTo>
                        <a:pt x="149" y="309"/>
                        <a:pt x="149" y="309"/>
                        <a:pt x="149" y="309"/>
                      </a:cubicBezTo>
                      <a:cubicBezTo>
                        <a:pt x="149" y="315"/>
                        <a:pt x="154" y="320"/>
                        <a:pt x="160" y="320"/>
                      </a:cubicBezTo>
                      <a:cubicBezTo>
                        <a:pt x="166" y="320"/>
                        <a:pt x="170" y="315"/>
                        <a:pt x="170" y="309"/>
                      </a:cubicBezTo>
                      <a:cubicBezTo>
                        <a:pt x="170" y="287"/>
                        <a:pt x="170" y="287"/>
                        <a:pt x="170" y="287"/>
                      </a:cubicBezTo>
                      <a:cubicBezTo>
                        <a:pt x="232" y="282"/>
                        <a:pt x="282" y="232"/>
                        <a:pt x="287" y="170"/>
                      </a:cubicBezTo>
                      <a:cubicBezTo>
                        <a:pt x="309" y="170"/>
                        <a:pt x="309" y="170"/>
                        <a:pt x="309" y="170"/>
                      </a:cubicBezTo>
                      <a:cubicBezTo>
                        <a:pt x="315" y="170"/>
                        <a:pt x="320" y="166"/>
                        <a:pt x="320" y="160"/>
                      </a:cubicBezTo>
                      <a:cubicBezTo>
                        <a:pt x="320" y="154"/>
                        <a:pt x="315" y="149"/>
                        <a:pt x="309" y="149"/>
                      </a:cubicBezTo>
                      <a:close/>
                      <a:moveTo>
                        <a:pt x="266" y="149"/>
                      </a:moveTo>
                      <a:cubicBezTo>
                        <a:pt x="233" y="149"/>
                        <a:pt x="233" y="149"/>
                        <a:pt x="233" y="149"/>
                      </a:cubicBezTo>
                      <a:cubicBezTo>
                        <a:pt x="229" y="116"/>
                        <a:pt x="203" y="91"/>
                        <a:pt x="170" y="86"/>
                      </a:cubicBezTo>
                      <a:cubicBezTo>
                        <a:pt x="170" y="54"/>
                        <a:pt x="170" y="54"/>
                        <a:pt x="170" y="54"/>
                      </a:cubicBezTo>
                      <a:cubicBezTo>
                        <a:pt x="221" y="59"/>
                        <a:pt x="261" y="99"/>
                        <a:pt x="266" y="149"/>
                      </a:cubicBezTo>
                      <a:close/>
                      <a:moveTo>
                        <a:pt x="149" y="149"/>
                      </a:moveTo>
                      <a:cubicBezTo>
                        <a:pt x="107" y="149"/>
                        <a:pt x="107" y="149"/>
                        <a:pt x="107" y="149"/>
                      </a:cubicBezTo>
                      <a:cubicBezTo>
                        <a:pt x="112" y="128"/>
                        <a:pt x="128" y="112"/>
                        <a:pt x="149" y="107"/>
                      </a:cubicBezTo>
                      <a:lnTo>
                        <a:pt x="149" y="149"/>
                      </a:lnTo>
                      <a:close/>
                      <a:moveTo>
                        <a:pt x="149" y="170"/>
                      </a:moveTo>
                      <a:cubicBezTo>
                        <a:pt x="149" y="212"/>
                        <a:pt x="149" y="212"/>
                        <a:pt x="149" y="212"/>
                      </a:cubicBezTo>
                      <a:cubicBezTo>
                        <a:pt x="128" y="208"/>
                        <a:pt x="112" y="191"/>
                        <a:pt x="107" y="170"/>
                      </a:cubicBezTo>
                      <a:lnTo>
                        <a:pt x="149" y="170"/>
                      </a:lnTo>
                      <a:close/>
                      <a:moveTo>
                        <a:pt x="170" y="170"/>
                      </a:moveTo>
                      <a:cubicBezTo>
                        <a:pt x="212" y="170"/>
                        <a:pt x="212" y="170"/>
                        <a:pt x="212" y="170"/>
                      </a:cubicBezTo>
                      <a:cubicBezTo>
                        <a:pt x="208" y="191"/>
                        <a:pt x="191" y="208"/>
                        <a:pt x="170" y="212"/>
                      </a:cubicBezTo>
                      <a:lnTo>
                        <a:pt x="170" y="170"/>
                      </a:lnTo>
                      <a:close/>
                      <a:moveTo>
                        <a:pt x="170" y="149"/>
                      </a:moveTo>
                      <a:cubicBezTo>
                        <a:pt x="170" y="107"/>
                        <a:pt x="170" y="107"/>
                        <a:pt x="170" y="107"/>
                      </a:cubicBezTo>
                      <a:cubicBezTo>
                        <a:pt x="191" y="112"/>
                        <a:pt x="208" y="128"/>
                        <a:pt x="212" y="149"/>
                      </a:cubicBezTo>
                      <a:lnTo>
                        <a:pt x="170" y="149"/>
                      </a:lnTo>
                      <a:close/>
                      <a:moveTo>
                        <a:pt x="149" y="54"/>
                      </a:moveTo>
                      <a:cubicBezTo>
                        <a:pt x="149" y="86"/>
                        <a:pt x="149" y="86"/>
                        <a:pt x="149" y="86"/>
                      </a:cubicBezTo>
                      <a:cubicBezTo>
                        <a:pt x="116" y="91"/>
                        <a:pt x="91" y="116"/>
                        <a:pt x="86" y="149"/>
                      </a:cubicBezTo>
                      <a:cubicBezTo>
                        <a:pt x="54" y="149"/>
                        <a:pt x="54" y="149"/>
                        <a:pt x="54" y="149"/>
                      </a:cubicBezTo>
                      <a:cubicBezTo>
                        <a:pt x="59" y="99"/>
                        <a:pt x="99" y="59"/>
                        <a:pt x="149" y="54"/>
                      </a:cubicBezTo>
                      <a:close/>
                      <a:moveTo>
                        <a:pt x="54" y="170"/>
                      </a:moveTo>
                      <a:cubicBezTo>
                        <a:pt x="86" y="170"/>
                        <a:pt x="86" y="170"/>
                        <a:pt x="86" y="170"/>
                      </a:cubicBezTo>
                      <a:cubicBezTo>
                        <a:pt x="91" y="203"/>
                        <a:pt x="116" y="229"/>
                        <a:pt x="149" y="233"/>
                      </a:cubicBezTo>
                      <a:cubicBezTo>
                        <a:pt x="149" y="266"/>
                        <a:pt x="149" y="266"/>
                        <a:pt x="149" y="266"/>
                      </a:cubicBezTo>
                      <a:cubicBezTo>
                        <a:pt x="99" y="261"/>
                        <a:pt x="59" y="221"/>
                        <a:pt x="54" y="170"/>
                      </a:cubicBezTo>
                      <a:close/>
                      <a:moveTo>
                        <a:pt x="170" y="266"/>
                      </a:moveTo>
                      <a:cubicBezTo>
                        <a:pt x="170" y="233"/>
                        <a:pt x="170" y="233"/>
                        <a:pt x="170" y="233"/>
                      </a:cubicBezTo>
                      <a:cubicBezTo>
                        <a:pt x="203" y="229"/>
                        <a:pt x="229" y="203"/>
                        <a:pt x="233" y="170"/>
                      </a:cubicBezTo>
                      <a:cubicBezTo>
                        <a:pt x="266" y="170"/>
                        <a:pt x="266" y="170"/>
                        <a:pt x="266" y="170"/>
                      </a:cubicBezTo>
                      <a:cubicBezTo>
                        <a:pt x="261" y="221"/>
                        <a:pt x="221" y="261"/>
                        <a:pt x="170" y="2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2" name="Freeform 434"/>
                <p:cNvSpPr>
                  <a:spLocks noEditPoints="1"/>
                </p:cNvSpPr>
                <p:nvPr/>
              </p:nvSpPr>
              <p:spPr bwMode="auto">
                <a:xfrm>
                  <a:off x="3505" y="1546"/>
                  <a:ext cx="340" cy="341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283" name="Rectangle 282"/>
              <p:cNvSpPr/>
              <p:nvPr/>
            </p:nvSpPr>
            <p:spPr>
              <a:xfrm>
                <a:off x="4636280" y="1723800"/>
                <a:ext cx="1327665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  <p:grpSp>
            <p:nvGrpSpPr>
              <p:cNvPr id="284" name="Group 360"/>
              <p:cNvGrpSpPr>
                <a:grpSpLocks noChangeAspect="1"/>
              </p:cNvGrpSpPr>
              <p:nvPr/>
            </p:nvGrpSpPr>
            <p:grpSpPr bwMode="auto">
              <a:xfrm>
                <a:off x="6303556" y="2140681"/>
                <a:ext cx="458545" cy="457199"/>
                <a:chOff x="1935" y="1199"/>
                <a:chExt cx="341" cy="340"/>
              </a:xfrm>
              <a:solidFill>
                <a:srgbClr val="004F59"/>
              </a:solidFill>
            </p:grpSpPr>
            <p:sp>
              <p:nvSpPr>
                <p:cNvPr id="285" name="Freeform 361"/>
                <p:cNvSpPr>
                  <a:spLocks noEditPoints="1"/>
                </p:cNvSpPr>
                <p:nvPr/>
              </p:nvSpPr>
              <p:spPr bwMode="auto">
                <a:xfrm>
                  <a:off x="1998" y="1263"/>
                  <a:ext cx="214" cy="206"/>
                </a:xfrm>
                <a:custGeom>
                  <a:avLst/>
                  <a:gdLst>
                    <a:gd name="T0" fmla="*/ 257 w 321"/>
                    <a:gd name="T1" fmla="*/ 309 h 310"/>
                    <a:gd name="T2" fmla="*/ 251 w 321"/>
                    <a:gd name="T3" fmla="*/ 308 h 310"/>
                    <a:gd name="T4" fmla="*/ 161 w 321"/>
                    <a:gd name="T5" fmla="*/ 257 h 310"/>
                    <a:gd name="T6" fmla="*/ 70 w 321"/>
                    <a:gd name="T7" fmla="*/ 308 h 310"/>
                    <a:gd name="T8" fmla="*/ 58 w 321"/>
                    <a:gd name="T9" fmla="*/ 307 h 310"/>
                    <a:gd name="T10" fmla="*/ 54 w 321"/>
                    <a:gd name="T11" fmla="*/ 296 h 310"/>
                    <a:gd name="T12" fmla="*/ 74 w 321"/>
                    <a:gd name="T13" fmla="*/ 195 h 310"/>
                    <a:gd name="T14" fmla="*/ 4 w 321"/>
                    <a:gd name="T15" fmla="*/ 125 h 310"/>
                    <a:gd name="T16" fmla="*/ 1 w 321"/>
                    <a:gd name="T17" fmla="*/ 113 h 310"/>
                    <a:gd name="T18" fmla="*/ 10 w 321"/>
                    <a:gd name="T19" fmla="*/ 106 h 310"/>
                    <a:gd name="T20" fmla="*/ 111 w 321"/>
                    <a:gd name="T21" fmla="*/ 96 h 310"/>
                    <a:gd name="T22" fmla="*/ 151 w 321"/>
                    <a:gd name="T23" fmla="*/ 6 h 310"/>
                    <a:gd name="T24" fmla="*/ 161 w 321"/>
                    <a:gd name="T25" fmla="*/ 0 h 310"/>
                    <a:gd name="T26" fmla="*/ 170 w 321"/>
                    <a:gd name="T27" fmla="*/ 6 h 310"/>
                    <a:gd name="T28" fmla="*/ 211 w 321"/>
                    <a:gd name="T29" fmla="*/ 96 h 310"/>
                    <a:gd name="T30" fmla="*/ 311 w 321"/>
                    <a:gd name="T31" fmla="*/ 106 h 310"/>
                    <a:gd name="T32" fmla="*/ 320 w 321"/>
                    <a:gd name="T33" fmla="*/ 113 h 310"/>
                    <a:gd name="T34" fmla="*/ 318 w 321"/>
                    <a:gd name="T35" fmla="*/ 125 h 310"/>
                    <a:gd name="T36" fmla="*/ 247 w 321"/>
                    <a:gd name="T37" fmla="*/ 195 h 310"/>
                    <a:gd name="T38" fmla="*/ 267 w 321"/>
                    <a:gd name="T39" fmla="*/ 296 h 310"/>
                    <a:gd name="T40" fmla="*/ 263 w 321"/>
                    <a:gd name="T41" fmla="*/ 307 h 310"/>
                    <a:gd name="T42" fmla="*/ 257 w 321"/>
                    <a:gd name="T43" fmla="*/ 309 h 310"/>
                    <a:gd name="T44" fmla="*/ 161 w 321"/>
                    <a:gd name="T45" fmla="*/ 234 h 310"/>
                    <a:gd name="T46" fmla="*/ 166 w 321"/>
                    <a:gd name="T47" fmla="*/ 236 h 310"/>
                    <a:gd name="T48" fmla="*/ 242 w 321"/>
                    <a:gd name="T49" fmla="*/ 278 h 310"/>
                    <a:gd name="T50" fmla="*/ 225 w 321"/>
                    <a:gd name="T51" fmla="*/ 194 h 310"/>
                    <a:gd name="T52" fmla="*/ 228 w 321"/>
                    <a:gd name="T53" fmla="*/ 184 h 310"/>
                    <a:gd name="T54" fmla="*/ 287 w 321"/>
                    <a:gd name="T55" fmla="*/ 125 h 310"/>
                    <a:gd name="T56" fmla="*/ 202 w 321"/>
                    <a:gd name="T57" fmla="*/ 117 h 310"/>
                    <a:gd name="T58" fmla="*/ 194 w 321"/>
                    <a:gd name="T59" fmla="*/ 111 h 310"/>
                    <a:gd name="T60" fmla="*/ 161 w 321"/>
                    <a:gd name="T61" fmla="*/ 37 h 310"/>
                    <a:gd name="T62" fmla="*/ 128 w 321"/>
                    <a:gd name="T63" fmla="*/ 111 h 310"/>
                    <a:gd name="T64" fmla="*/ 119 w 321"/>
                    <a:gd name="T65" fmla="*/ 117 h 310"/>
                    <a:gd name="T66" fmla="*/ 35 w 321"/>
                    <a:gd name="T67" fmla="*/ 125 h 310"/>
                    <a:gd name="T68" fmla="*/ 94 w 321"/>
                    <a:gd name="T69" fmla="*/ 184 h 310"/>
                    <a:gd name="T70" fmla="*/ 96 w 321"/>
                    <a:gd name="T71" fmla="*/ 194 h 310"/>
                    <a:gd name="T72" fmla="*/ 80 w 321"/>
                    <a:gd name="T73" fmla="*/ 278 h 310"/>
                    <a:gd name="T74" fmla="*/ 155 w 321"/>
                    <a:gd name="T75" fmla="*/ 236 h 310"/>
                    <a:gd name="T76" fmla="*/ 161 w 321"/>
                    <a:gd name="T77" fmla="*/ 234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21" h="310">
                      <a:moveTo>
                        <a:pt x="257" y="309"/>
                      </a:moveTo>
                      <a:cubicBezTo>
                        <a:pt x="255" y="309"/>
                        <a:pt x="253" y="309"/>
                        <a:pt x="251" y="308"/>
                      </a:cubicBezTo>
                      <a:cubicBezTo>
                        <a:pt x="161" y="257"/>
                        <a:pt x="161" y="257"/>
                        <a:pt x="161" y="257"/>
                      </a:cubicBezTo>
                      <a:cubicBezTo>
                        <a:pt x="70" y="308"/>
                        <a:pt x="70" y="308"/>
                        <a:pt x="70" y="308"/>
                      </a:cubicBezTo>
                      <a:cubicBezTo>
                        <a:pt x="66" y="310"/>
                        <a:pt x="62" y="309"/>
                        <a:pt x="58" y="307"/>
                      </a:cubicBezTo>
                      <a:cubicBezTo>
                        <a:pt x="55" y="305"/>
                        <a:pt x="53" y="300"/>
                        <a:pt x="54" y="296"/>
                      </a:cubicBezTo>
                      <a:cubicBezTo>
                        <a:pt x="74" y="195"/>
                        <a:pt x="74" y="195"/>
                        <a:pt x="74" y="195"/>
                      </a:cubicBezTo>
                      <a:cubicBezTo>
                        <a:pt x="4" y="125"/>
                        <a:pt x="4" y="125"/>
                        <a:pt x="4" y="125"/>
                      </a:cubicBezTo>
                      <a:cubicBezTo>
                        <a:pt x="1" y="122"/>
                        <a:pt x="0" y="117"/>
                        <a:pt x="1" y="113"/>
                      </a:cubicBezTo>
                      <a:cubicBezTo>
                        <a:pt x="3" y="110"/>
                        <a:pt x="6" y="107"/>
                        <a:pt x="10" y="106"/>
                      </a:cubicBezTo>
                      <a:cubicBezTo>
                        <a:pt x="111" y="96"/>
                        <a:pt x="111" y="96"/>
                        <a:pt x="111" y="96"/>
                      </a:cubicBezTo>
                      <a:cubicBezTo>
                        <a:pt x="151" y="6"/>
                        <a:pt x="151" y="6"/>
                        <a:pt x="151" y="6"/>
                      </a:cubicBezTo>
                      <a:cubicBezTo>
                        <a:pt x="153" y="2"/>
                        <a:pt x="156" y="0"/>
                        <a:pt x="161" y="0"/>
                      </a:cubicBezTo>
                      <a:cubicBezTo>
                        <a:pt x="165" y="0"/>
                        <a:pt x="169" y="2"/>
                        <a:pt x="170" y="6"/>
                      </a:cubicBezTo>
                      <a:cubicBezTo>
                        <a:pt x="211" y="96"/>
                        <a:pt x="211" y="96"/>
                        <a:pt x="211" y="96"/>
                      </a:cubicBezTo>
                      <a:cubicBezTo>
                        <a:pt x="311" y="106"/>
                        <a:pt x="311" y="106"/>
                        <a:pt x="311" y="106"/>
                      </a:cubicBezTo>
                      <a:cubicBezTo>
                        <a:pt x="315" y="107"/>
                        <a:pt x="319" y="110"/>
                        <a:pt x="320" y="113"/>
                      </a:cubicBezTo>
                      <a:cubicBezTo>
                        <a:pt x="321" y="117"/>
                        <a:pt x="320" y="122"/>
                        <a:pt x="318" y="125"/>
                      </a:cubicBezTo>
                      <a:cubicBezTo>
                        <a:pt x="247" y="195"/>
                        <a:pt x="247" y="195"/>
                        <a:pt x="247" y="195"/>
                      </a:cubicBezTo>
                      <a:cubicBezTo>
                        <a:pt x="267" y="296"/>
                        <a:pt x="267" y="296"/>
                        <a:pt x="267" y="296"/>
                      </a:cubicBezTo>
                      <a:cubicBezTo>
                        <a:pt x="268" y="300"/>
                        <a:pt x="266" y="305"/>
                        <a:pt x="263" y="307"/>
                      </a:cubicBezTo>
                      <a:cubicBezTo>
                        <a:pt x="261" y="308"/>
                        <a:pt x="259" y="309"/>
                        <a:pt x="257" y="309"/>
                      </a:cubicBezTo>
                      <a:close/>
                      <a:moveTo>
                        <a:pt x="161" y="234"/>
                      </a:moveTo>
                      <a:cubicBezTo>
                        <a:pt x="162" y="234"/>
                        <a:pt x="164" y="235"/>
                        <a:pt x="166" y="236"/>
                      </a:cubicBezTo>
                      <a:cubicBezTo>
                        <a:pt x="242" y="278"/>
                        <a:pt x="242" y="278"/>
                        <a:pt x="242" y="278"/>
                      </a:cubicBezTo>
                      <a:cubicBezTo>
                        <a:pt x="225" y="194"/>
                        <a:pt x="225" y="194"/>
                        <a:pt x="225" y="194"/>
                      </a:cubicBezTo>
                      <a:cubicBezTo>
                        <a:pt x="224" y="190"/>
                        <a:pt x="225" y="187"/>
                        <a:pt x="228" y="184"/>
                      </a:cubicBezTo>
                      <a:cubicBezTo>
                        <a:pt x="287" y="125"/>
                        <a:pt x="287" y="125"/>
                        <a:pt x="287" y="125"/>
                      </a:cubicBezTo>
                      <a:cubicBezTo>
                        <a:pt x="202" y="117"/>
                        <a:pt x="202" y="117"/>
                        <a:pt x="202" y="117"/>
                      </a:cubicBezTo>
                      <a:cubicBezTo>
                        <a:pt x="198" y="117"/>
                        <a:pt x="195" y="114"/>
                        <a:pt x="194" y="111"/>
                      </a:cubicBezTo>
                      <a:cubicBezTo>
                        <a:pt x="161" y="37"/>
                        <a:pt x="161" y="37"/>
                        <a:pt x="161" y="37"/>
                      </a:cubicBezTo>
                      <a:cubicBezTo>
                        <a:pt x="128" y="111"/>
                        <a:pt x="128" y="111"/>
                        <a:pt x="128" y="111"/>
                      </a:cubicBezTo>
                      <a:cubicBezTo>
                        <a:pt x="126" y="114"/>
                        <a:pt x="123" y="117"/>
                        <a:pt x="119" y="117"/>
                      </a:cubicBezTo>
                      <a:cubicBezTo>
                        <a:pt x="35" y="125"/>
                        <a:pt x="35" y="125"/>
                        <a:pt x="35" y="125"/>
                      </a:cubicBezTo>
                      <a:cubicBezTo>
                        <a:pt x="94" y="184"/>
                        <a:pt x="94" y="184"/>
                        <a:pt x="94" y="184"/>
                      </a:cubicBezTo>
                      <a:cubicBezTo>
                        <a:pt x="96" y="187"/>
                        <a:pt x="97" y="190"/>
                        <a:pt x="96" y="194"/>
                      </a:cubicBezTo>
                      <a:cubicBezTo>
                        <a:pt x="80" y="278"/>
                        <a:pt x="80" y="278"/>
                        <a:pt x="80" y="278"/>
                      </a:cubicBezTo>
                      <a:cubicBezTo>
                        <a:pt x="155" y="236"/>
                        <a:pt x="155" y="236"/>
                        <a:pt x="155" y="236"/>
                      </a:cubicBezTo>
                      <a:cubicBezTo>
                        <a:pt x="157" y="235"/>
                        <a:pt x="159" y="234"/>
                        <a:pt x="161" y="2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6" name="Freeform 362"/>
                <p:cNvSpPr>
                  <a:spLocks noEditPoints="1"/>
                </p:cNvSpPr>
                <p:nvPr/>
              </p:nvSpPr>
              <p:spPr bwMode="auto">
                <a:xfrm>
                  <a:off x="1935" y="1199"/>
                  <a:ext cx="341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88" name="Group 336"/>
              <p:cNvGrpSpPr>
                <a:grpSpLocks noChangeAspect="1"/>
              </p:cNvGrpSpPr>
              <p:nvPr/>
            </p:nvGrpSpPr>
            <p:grpSpPr bwMode="auto">
              <a:xfrm rot="60000">
                <a:off x="6311663" y="3749685"/>
                <a:ext cx="457200" cy="457200"/>
                <a:chOff x="4220" y="1197"/>
                <a:chExt cx="340" cy="340"/>
              </a:xfrm>
              <a:solidFill>
                <a:srgbClr val="2C5234"/>
              </a:solidFill>
            </p:grpSpPr>
            <p:sp>
              <p:nvSpPr>
                <p:cNvPr id="289" name="Freeform 337"/>
                <p:cNvSpPr>
                  <a:spLocks noEditPoints="1"/>
                </p:cNvSpPr>
                <p:nvPr/>
              </p:nvSpPr>
              <p:spPr bwMode="auto">
                <a:xfrm>
                  <a:off x="4220" y="1197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Freeform 338"/>
                <p:cNvSpPr>
                  <a:spLocks noEditPoints="1"/>
                </p:cNvSpPr>
                <p:nvPr/>
              </p:nvSpPr>
              <p:spPr bwMode="auto">
                <a:xfrm>
                  <a:off x="4312" y="1261"/>
                  <a:ext cx="156" cy="212"/>
                </a:xfrm>
                <a:custGeom>
                  <a:avLst/>
                  <a:gdLst>
                    <a:gd name="T0" fmla="*/ 234 w 235"/>
                    <a:gd name="T1" fmla="*/ 81 h 320"/>
                    <a:gd name="T2" fmla="*/ 232 w 235"/>
                    <a:gd name="T3" fmla="*/ 77 h 320"/>
                    <a:gd name="T4" fmla="*/ 157 w 235"/>
                    <a:gd name="T5" fmla="*/ 3 h 320"/>
                    <a:gd name="T6" fmla="*/ 154 w 235"/>
                    <a:gd name="T7" fmla="*/ 0 h 320"/>
                    <a:gd name="T8" fmla="*/ 150 w 235"/>
                    <a:gd name="T9" fmla="*/ 0 h 320"/>
                    <a:gd name="T10" fmla="*/ 11 w 235"/>
                    <a:gd name="T11" fmla="*/ 0 h 320"/>
                    <a:gd name="T12" fmla="*/ 0 w 235"/>
                    <a:gd name="T13" fmla="*/ 10 h 320"/>
                    <a:gd name="T14" fmla="*/ 0 w 235"/>
                    <a:gd name="T15" fmla="*/ 309 h 320"/>
                    <a:gd name="T16" fmla="*/ 11 w 235"/>
                    <a:gd name="T17" fmla="*/ 320 h 320"/>
                    <a:gd name="T18" fmla="*/ 224 w 235"/>
                    <a:gd name="T19" fmla="*/ 320 h 320"/>
                    <a:gd name="T20" fmla="*/ 235 w 235"/>
                    <a:gd name="T21" fmla="*/ 309 h 320"/>
                    <a:gd name="T22" fmla="*/ 235 w 235"/>
                    <a:gd name="T23" fmla="*/ 85 h 320"/>
                    <a:gd name="T24" fmla="*/ 234 w 235"/>
                    <a:gd name="T25" fmla="*/ 81 h 320"/>
                    <a:gd name="T26" fmla="*/ 160 w 235"/>
                    <a:gd name="T27" fmla="*/ 36 h 320"/>
                    <a:gd name="T28" fmla="*/ 199 w 235"/>
                    <a:gd name="T29" fmla="*/ 74 h 320"/>
                    <a:gd name="T30" fmla="*/ 160 w 235"/>
                    <a:gd name="T31" fmla="*/ 74 h 320"/>
                    <a:gd name="T32" fmla="*/ 160 w 235"/>
                    <a:gd name="T33" fmla="*/ 36 h 320"/>
                    <a:gd name="T34" fmla="*/ 22 w 235"/>
                    <a:gd name="T35" fmla="*/ 298 h 320"/>
                    <a:gd name="T36" fmla="*/ 22 w 235"/>
                    <a:gd name="T37" fmla="*/ 21 h 320"/>
                    <a:gd name="T38" fmla="*/ 139 w 235"/>
                    <a:gd name="T39" fmla="*/ 21 h 320"/>
                    <a:gd name="T40" fmla="*/ 139 w 235"/>
                    <a:gd name="T41" fmla="*/ 85 h 320"/>
                    <a:gd name="T42" fmla="*/ 150 w 235"/>
                    <a:gd name="T43" fmla="*/ 96 h 320"/>
                    <a:gd name="T44" fmla="*/ 214 w 235"/>
                    <a:gd name="T45" fmla="*/ 96 h 320"/>
                    <a:gd name="T46" fmla="*/ 214 w 235"/>
                    <a:gd name="T47" fmla="*/ 298 h 320"/>
                    <a:gd name="T48" fmla="*/ 22 w 235"/>
                    <a:gd name="T49" fmla="*/ 298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35" h="320">
                      <a:moveTo>
                        <a:pt x="234" y="81"/>
                      </a:moveTo>
                      <a:cubicBezTo>
                        <a:pt x="234" y="80"/>
                        <a:pt x="233" y="78"/>
                        <a:pt x="232" y="77"/>
                      </a:cubicBezTo>
                      <a:cubicBezTo>
                        <a:pt x="157" y="3"/>
                        <a:pt x="157" y="3"/>
                        <a:pt x="157" y="3"/>
                      </a:cubicBezTo>
                      <a:cubicBezTo>
                        <a:pt x="156" y="2"/>
                        <a:pt x="155" y="1"/>
                        <a:pt x="154" y="0"/>
                      </a:cubicBezTo>
                      <a:cubicBezTo>
                        <a:pt x="152" y="0"/>
                        <a:pt x="151" y="0"/>
                        <a:pt x="150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10"/>
                      </a:cubicBezTo>
                      <a:cubicBezTo>
                        <a:pt x="0" y="309"/>
                        <a:pt x="0" y="309"/>
                        <a:pt x="0" y="309"/>
                      </a:cubicBezTo>
                      <a:cubicBezTo>
                        <a:pt x="0" y="315"/>
                        <a:pt x="5" y="320"/>
                        <a:pt x="11" y="320"/>
                      </a:cubicBezTo>
                      <a:cubicBezTo>
                        <a:pt x="224" y="320"/>
                        <a:pt x="224" y="320"/>
                        <a:pt x="224" y="320"/>
                      </a:cubicBezTo>
                      <a:cubicBezTo>
                        <a:pt x="230" y="320"/>
                        <a:pt x="235" y="315"/>
                        <a:pt x="235" y="309"/>
                      </a:cubicBezTo>
                      <a:cubicBezTo>
                        <a:pt x="235" y="85"/>
                        <a:pt x="235" y="85"/>
                        <a:pt x="235" y="85"/>
                      </a:cubicBezTo>
                      <a:cubicBezTo>
                        <a:pt x="235" y="84"/>
                        <a:pt x="235" y="82"/>
                        <a:pt x="234" y="81"/>
                      </a:cubicBezTo>
                      <a:close/>
                      <a:moveTo>
                        <a:pt x="160" y="36"/>
                      </a:moveTo>
                      <a:cubicBezTo>
                        <a:pt x="199" y="74"/>
                        <a:pt x="199" y="74"/>
                        <a:pt x="199" y="74"/>
                      </a:cubicBezTo>
                      <a:cubicBezTo>
                        <a:pt x="160" y="74"/>
                        <a:pt x="160" y="74"/>
                        <a:pt x="160" y="74"/>
                      </a:cubicBezTo>
                      <a:lnTo>
                        <a:pt x="160" y="36"/>
                      </a:lnTo>
                      <a:close/>
                      <a:moveTo>
                        <a:pt x="22" y="298"/>
                      </a:moveTo>
                      <a:cubicBezTo>
                        <a:pt x="22" y="21"/>
                        <a:pt x="22" y="21"/>
                        <a:pt x="22" y="21"/>
                      </a:cubicBezTo>
                      <a:cubicBezTo>
                        <a:pt x="139" y="21"/>
                        <a:pt x="139" y="21"/>
                        <a:pt x="139" y="21"/>
                      </a:cubicBezTo>
                      <a:cubicBezTo>
                        <a:pt x="139" y="85"/>
                        <a:pt x="139" y="85"/>
                        <a:pt x="139" y="85"/>
                      </a:cubicBezTo>
                      <a:cubicBezTo>
                        <a:pt x="139" y="91"/>
                        <a:pt x="144" y="96"/>
                        <a:pt x="150" y="96"/>
                      </a:cubicBezTo>
                      <a:cubicBezTo>
                        <a:pt x="214" y="96"/>
                        <a:pt x="214" y="96"/>
                        <a:pt x="214" y="96"/>
                      </a:cubicBezTo>
                      <a:cubicBezTo>
                        <a:pt x="214" y="298"/>
                        <a:pt x="214" y="298"/>
                        <a:pt x="214" y="298"/>
                      </a:cubicBezTo>
                      <a:lnTo>
                        <a:pt x="22" y="29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1" name="Freeform 339"/>
                <p:cNvSpPr>
                  <a:spLocks/>
                </p:cNvSpPr>
                <p:nvPr/>
              </p:nvSpPr>
              <p:spPr bwMode="auto">
                <a:xfrm>
                  <a:off x="4340" y="1431"/>
                  <a:ext cx="99" cy="14"/>
                </a:xfrm>
                <a:custGeom>
                  <a:avLst/>
                  <a:gdLst>
                    <a:gd name="T0" fmla="*/ 139 w 149"/>
                    <a:gd name="T1" fmla="*/ 0 h 21"/>
                    <a:gd name="T2" fmla="*/ 11 w 149"/>
                    <a:gd name="T3" fmla="*/ 0 h 21"/>
                    <a:gd name="T4" fmla="*/ 0 w 149"/>
                    <a:gd name="T5" fmla="*/ 10 h 21"/>
                    <a:gd name="T6" fmla="*/ 11 w 149"/>
                    <a:gd name="T7" fmla="*/ 21 h 21"/>
                    <a:gd name="T8" fmla="*/ 139 w 149"/>
                    <a:gd name="T9" fmla="*/ 21 h 21"/>
                    <a:gd name="T10" fmla="*/ 149 w 149"/>
                    <a:gd name="T11" fmla="*/ 10 h 21"/>
                    <a:gd name="T12" fmla="*/ 139 w 149"/>
                    <a:gd name="T13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9" h="21">
                      <a:moveTo>
                        <a:pt x="139" y="0"/>
                      </a:move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10"/>
                      </a:cubicBezTo>
                      <a:cubicBezTo>
                        <a:pt x="0" y="16"/>
                        <a:pt x="5" y="21"/>
                        <a:pt x="11" y="21"/>
                      </a:cubicBezTo>
                      <a:cubicBezTo>
                        <a:pt x="139" y="21"/>
                        <a:pt x="139" y="21"/>
                        <a:pt x="139" y="21"/>
                      </a:cubicBezTo>
                      <a:cubicBezTo>
                        <a:pt x="145" y="21"/>
                        <a:pt x="149" y="16"/>
                        <a:pt x="149" y="10"/>
                      </a:cubicBezTo>
                      <a:cubicBezTo>
                        <a:pt x="149" y="4"/>
                        <a:pt x="145" y="0"/>
                        <a:pt x="13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2" name="Freeform 340"/>
                <p:cNvSpPr>
                  <a:spLocks/>
                </p:cNvSpPr>
                <p:nvPr/>
              </p:nvSpPr>
              <p:spPr bwMode="auto">
                <a:xfrm>
                  <a:off x="4340" y="1402"/>
                  <a:ext cx="99" cy="14"/>
                </a:xfrm>
                <a:custGeom>
                  <a:avLst/>
                  <a:gdLst>
                    <a:gd name="T0" fmla="*/ 139 w 149"/>
                    <a:gd name="T1" fmla="*/ 0 h 21"/>
                    <a:gd name="T2" fmla="*/ 11 w 149"/>
                    <a:gd name="T3" fmla="*/ 0 h 21"/>
                    <a:gd name="T4" fmla="*/ 0 w 149"/>
                    <a:gd name="T5" fmla="*/ 11 h 21"/>
                    <a:gd name="T6" fmla="*/ 11 w 149"/>
                    <a:gd name="T7" fmla="*/ 21 h 21"/>
                    <a:gd name="T8" fmla="*/ 139 w 149"/>
                    <a:gd name="T9" fmla="*/ 21 h 21"/>
                    <a:gd name="T10" fmla="*/ 149 w 149"/>
                    <a:gd name="T11" fmla="*/ 11 h 21"/>
                    <a:gd name="T12" fmla="*/ 139 w 149"/>
                    <a:gd name="T13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9" h="21">
                      <a:moveTo>
                        <a:pt x="139" y="0"/>
                      </a:move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17"/>
                        <a:pt x="5" y="21"/>
                        <a:pt x="11" y="21"/>
                      </a:cubicBezTo>
                      <a:cubicBezTo>
                        <a:pt x="139" y="21"/>
                        <a:pt x="139" y="21"/>
                        <a:pt x="139" y="21"/>
                      </a:cubicBezTo>
                      <a:cubicBezTo>
                        <a:pt x="145" y="21"/>
                        <a:pt x="149" y="17"/>
                        <a:pt x="149" y="11"/>
                      </a:cubicBezTo>
                      <a:cubicBezTo>
                        <a:pt x="149" y="5"/>
                        <a:pt x="145" y="0"/>
                        <a:pt x="13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3" name="Freeform 341"/>
                <p:cNvSpPr>
                  <a:spLocks/>
                </p:cNvSpPr>
                <p:nvPr/>
              </p:nvSpPr>
              <p:spPr bwMode="auto">
                <a:xfrm>
                  <a:off x="4340" y="1374"/>
                  <a:ext cx="99" cy="14"/>
                </a:xfrm>
                <a:custGeom>
                  <a:avLst/>
                  <a:gdLst>
                    <a:gd name="T0" fmla="*/ 139 w 149"/>
                    <a:gd name="T1" fmla="*/ 0 h 22"/>
                    <a:gd name="T2" fmla="*/ 11 w 149"/>
                    <a:gd name="T3" fmla="*/ 0 h 22"/>
                    <a:gd name="T4" fmla="*/ 0 w 149"/>
                    <a:gd name="T5" fmla="*/ 11 h 22"/>
                    <a:gd name="T6" fmla="*/ 11 w 149"/>
                    <a:gd name="T7" fmla="*/ 22 h 22"/>
                    <a:gd name="T8" fmla="*/ 139 w 149"/>
                    <a:gd name="T9" fmla="*/ 22 h 22"/>
                    <a:gd name="T10" fmla="*/ 149 w 149"/>
                    <a:gd name="T11" fmla="*/ 11 h 22"/>
                    <a:gd name="T12" fmla="*/ 139 w 149"/>
                    <a:gd name="T1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9" h="22">
                      <a:moveTo>
                        <a:pt x="139" y="0"/>
                      </a:move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17"/>
                        <a:pt x="5" y="22"/>
                        <a:pt x="11" y="22"/>
                      </a:cubicBezTo>
                      <a:cubicBezTo>
                        <a:pt x="139" y="22"/>
                        <a:pt x="139" y="22"/>
                        <a:pt x="139" y="22"/>
                      </a:cubicBezTo>
                      <a:cubicBezTo>
                        <a:pt x="145" y="22"/>
                        <a:pt x="149" y="17"/>
                        <a:pt x="149" y="11"/>
                      </a:cubicBezTo>
                      <a:cubicBezTo>
                        <a:pt x="149" y="5"/>
                        <a:pt x="145" y="0"/>
                        <a:pt x="13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4" name="Freeform 342"/>
                <p:cNvSpPr>
                  <a:spLocks/>
                </p:cNvSpPr>
                <p:nvPr/>
              </p:nvSpPr>
              <p:spPr bwMode="auto">
                <a:xfrm>
                  <a:off x="4340" y="1346"/>
                  <a:ext cx="99" cy="14"/>
                </a:xfrm>
                <a:custGeom>
                  <a:avLst/>
                  <a:gdLst>
                    <a:gd name="T0" fmla="*/ 139 w 149"/>
                    <a:gd name="T1" fmla="*/ 0 h 21"/>
                    <a:gd name="T2" fmla="*/ 11 w 149"/>
                    <a:gd name="T3" fmla="*/ 0 h 21"/>
                    <a:gd name="T4" fmla="*/ 0 w 149"/>
                    <a:gd name="T5" fmla="*/ 10 h 21"/>
                    <a:gd name="T6" fmla="*/ 11 w 149"/>
                    <a:gd name="T7" fmla="*/ 21 h 21"/>
                    <a:gd name="T8" fmla="*/ 139 w 149"/>
                    <a:gd name="T9" fmla="*/ 21 h 21"/>
                    <a:gd name="T10" fmla="*/ 149 w 149"/>
                    <a:gd name="T11" fmla="*/ 10 h 21"/>
                    <a:gd name="T12" fmla="*/ 139 w 149"/>
                    <a:gd name="T13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9" h="21">
                      <a:moveTo>
                        <a:pt x="139" y="0"/>
                      </a:move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4"/>
                        <a:pt x="0" y="10"/>
                      </a:cubicBezTo>
                      <a:cubicBezTo>
                        <a:pt x="0" y="16"/>
                        <a:pt x="5" y="21"/>
                        <a:pt x="11" y="21"/>
                      </a:cubicBezTo>
                      <a:cubicBezTo>
                        <a:pt x="139" y="21"/>
                        <a:pt x="139" y="21"/>
                        <a:pt x="139" y="21"/>
                      </a:cubicBezTo>
                      <a:cubicBezTo>
                        <a:pt x="145" y="21"/>
                        <a:pt x="149" y="16"/>
                        <a:pt x="149" y="10"/>
                      </a:cubicBezTo>
                      <a:cubicBezTo>
                        <a:pt x="149" y="4"/>
                        <a:pt x="145" y="0"/>
                        <a:pt x="13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95" name="Group 920"/>
              <p:cNvGrpSpPr>
                <a:grpSpLocks noChangeAspect="1"/>
              </p:cNvGrpSpPr>
              <p:nvPr/>
            </p:nvGrpSpPr>
            <p:grpSpPr bwMode="auto">
              <a:xfrm>
                <a:off x="3490903" y="5367541"/>
                <a:ext cx="457200" cy="457201"/>
                <a:chOff x="5645" y="4510"/>
                <a:chExt cx="340" cy="340"/>
              </a:xfrm>
              <a:solidFill>
                <a:schemeClr val="accent1"/>
              </a:solidFill>
            </p:grpSpPr>
            <p:sp>
              <p:nvSpPr>
                <p:cNvPr id="296" name="Freeform 921"/>
                <p:cNvSpPr>
                  <a:spLocks noEditPoints="1"/>
                </p:cNvSpPr>
                <p:nvPr/>
              </p:nvSpPr>
              <p:spPr bwMode="auto">
                <a:xfrm>
                  <a:off x="5765" y="4574"/>
                  <a:ext cx="99" cy="212"/>
                </a:xfrm>
                <a:custGeom>
                  <a:avLst/>
                  <a:gdLst>
                    <a:gd name="T0" fmla="*/ 139 w 149"/>
                    <a:gd name="T1" fmla="*/ 256 h 320"/>
                    <a:gd name="T2" fmla="*/ 136 w 149"/>
                    <a:gd name="T3" fmla="*/ 256 h 320"/>
                    <a:gd name="T4" fmla="*/ 108 w 149"/>
                    <a:gd name="T5" fmla="*/ 142 h 320"/>
                    <a:gd name="T6" fmla="*/ 128 w 149"/>
                    <a:gd name="T7" fmla="*/ 96 h 320"/>
                    <a:gd name="T8" fmla="*/ 98 w 149"/>
                    <a:gd name="T9" fmla="*/ 53 h 320"/>
                    <a:gd name="T10" fmla="*/ 107 w 149"/>
                    <a:gd name="T11" fmla="*/ 32 h 320"/>
                    <a:gd name="T12" fmla="*/ 75 w 149"/>
                    <a:gd name="T13" fmla="*/ 0 h 320"/>
                    <a:gd name="T14" fmla="*/ 43 w 149"/>
                    <a:gd name="T15" fmla="*/ 32 h 320"/>
                    <a:gd name="T16" fmla="*/ 51 w 149"/>
                    <a:gd name="T17" fmla="*/ 53 h 320"/>
                    <a:gd name="T18" fmla="*/ 21 w 149"/>
                    <a:gd name="T19" fmla="*/ 96 h 320"/>
                    <a:gd name="T20" fmla="*/ 41 w 149"/>
                    <a:gd name="T21" fmla="*/ 142 h 320"/>
                    <a:gd name="T22" fmla="*/ 13 w 149"/>
                    <a:gd name="T23" fmla="*/ 256 h 320"/>
                    <a:gd name="T24" fmla="*/ 11 w 149"/>
                    <a:gd name="T25" fmla="*/ 256 h 320"/>
                    <a:gd name="T26" fmla="*/ 0 w 149"/>
                    <a:gd name="T27" fmla="*/ 266 h 320"/>
                    <a:gd name="T28" fmla="*/ 0 w 149"/>
                    <a:gd name="T29" fmla="*/ 309 h 320"/>
                    <a:gd name="T30" fmla="*/ 11 w 149"/>
                    <a:gd name="T31" fmla="*/ 320 h 320"/>
                    <a:gd name="T32" fmla="*/ 139 w 149"/>
                    <a:gd name="T33" fmla="*/ 320 h 320"/>
                    <a:gd name="T34" fmla="*/ 149 w 149"/>
                    <a:gd name="T35" fmla="*/ 309 h 320"/>
                    <a:gd name="T36" fmla="*/ 149 w 149"/>
                    <a:gd name="T37" fmla="*/ 266 h 320"/>
                    <a:gd name="T38" fmla="*/ 139 w 149"/>
                    <a:gd name="T39" fmla="*/ 256 h 320"/>
                    <a:gd name="T40" fmla="*/ 75 w 149"/>
                    <a:gd name="T41" fmla="*/ 21 h 320"/>
                    <a:gd name="T42" fmla="*/ 85 w 149"/>
                    <a:gd name="T43" fmla="*/ 32 h 320"/>
                    <a:gd name="T44" fmla="*/ 75 w 149"/>
                    <a:gd name="T45" fmla="*/ 42 h 320"/>
                    <a:gd name="T46" fmla="*/ 64 w 149"/>
                    <a:gd name="T47" fmla="*/ 32 h 320"/>
                    <a:gd name="T48" fmla="*/ 75 w 149"/>
                    <a:gd name="T49" fmla="*/ 21 h 320"/>
                    <a:gd name="T50" fmla="*/ 75 w 149"/>
                    <a:gd name="T51" fmla="*/ 64 h 320"/>
                    <a:gd name="T52" fmla="*/ 92 w 149"/>
                    <a:gd name="T53" fmla="*/ 74 h 320"/>
                    <a:gd name="T54" fmla="*/ 78 w 149"/>
                    <a:gd name="T55" fmla="*/ 88 h 320"/>
                    <a:gd name="T56" fmla="*/ 78 w 149"/>
                    <a:gd name="T57" fmla="*/ 103 h 320"/>
                    <a:gd name="T58" fmla="*/ 85 w 149"/>
                    <a:gd name="T59" fmla="*/ 106 h 320"/>
                    <a:gd name="T60" fmla="*/ 93 w 149"/>
                    <a:gd name="T61" fmla="*/ 103 h 320"/>
                    <a:gd name="T62" fmla="*/ 106 w 149"/>
                    <a:gd name="T63" fmla="*/ 90 h 320"/>
                    <a:gd name="T64" fmla="*/ 107 w 149"/>
                    <a:gd name="T65" fmla="*/ 96 h 320"/>
                    <a:gd name="T66" fmla="*/ 92 w 149"/>
                    <a:gd name="T67" fmla="*/ 128 h 320"/>
                    <a:gd name="T68" fmla="*/ 57 w 149"/>
                    <a:gd name="T69" fmla="*/ 128 h 320"/>
                    <a:gd name="T70" fmla="*/ 43 w 149"/>
                    <a:gd name="T71" fmla="*/ 96 h 320"/>
                    <a:gd name="T72" fmla="*/ 75 w 149"/>
                    <a:gd name="T73" fmla="*/ 64 h 320"/>
                    <a:gd name="T74" fmla="*/ 62 w 149"/>
                    <a:gd name="T75" fmla="*/ 149 h 320"/>
                    <a:gd name="T76" fmla="*/ 88 w 149"/>
                    <a:gd name="T77" fmla="*/ 149 h 320"/>
                    <a:gd name="T78" fmla="*/ 114 w 149"/>
                    <a:gd name="T79" fmla="*/ 256 h 320"/>
                    <a:gd name="T80" fmla="*/ 35 w 149"/>
                    <a:gd name="T81" fmla="*/ 256 h 320"/>
                    <a:gd name="T82" fmla="*/ 62 w 149"/>
                    <a:gd name="T83" fmla="*/ 149 h 320"/>
                    <a:gd name="T84" fmla="*/ 128 w 149"/>
                    <a:gd name="T85" fmla="*/ 298 h 320"/>
                    <a:gd name="T86" fmla="*/ 21 w 149"/>
                    <a:gd name="T87" fmla="*/ 298 h 320"/>
                    <a:gd name="T88" fmla="*/ 21 w 149"/>
                    <a:gd name="T89" fmla="*/ 277 h 320"/>
                    <a:gd name="T90" fmla="*/ 128 w 149"/>
                    <a:gd name="T91" fmla="*/ 277 h 320"/>
                    <a:gd name="T92" fmla="*/ 128 w 149"/>
                    <a:gd name="T93" fmla="*/ 298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9" h="320">
                      <a:moveTo>
                        <a:pt x="139" y="256"/>
                      </a:moveTo>
                      <a:cubicBezTo>
                        <a:pt x="136" y="256"/>
                        <a:pt x="136" y="256"/>
                        <a:pt x="136" y="256"/>
                      </a:cubicBezTo>
                      <a:cubicBezTo>
                        <a:pt x="108" y="142"/>
                        <a:pt x="108" y="142"/>
                        <a:pt x="108" y="142"/>
                      </a:cubicBezTo>
                      <a:cubicBezTo>
                        <a:pt x="116" y="135"/>
                        <a:pt x="128" y="119"/>
                        <a:pt x="128" y="96"/>
                      </a:cubicBezTo>
                      <a:cubicBezTo>
                        <a:pt x="128" y="76"/>
                        <a:pt x="112" y="62"/>
                        <a:pt x="98" y="53"/>
                      </a:cubicBezTo>
                      <a:cubicBezTo>
                        <a:pt x="103" y="47"/>
                        <a:pt x="107" y="40"/>
                        <a:pt x="107" y="32"/>
                      </a:cubicBezTo>
                      <a:cubicBezTo>
                        <a:pt x="107" y="14"/>
                        <a:pt x="92" y="0"/>
                        <a:pt x="75" y="0"/>
                      </a:cubicBezTo>
                      <a:cubicBezTo>
                        <a:pt x="57" y="0"/>
                        <a:pt x="43" y="14"/>
                        <a:pt x="43" y="32"/>
                      </a:cubicBezTo>
                      <a:cubicBezTo>
                        <a:pt x="43" y="40"/>
                        <a:pt x="46" y="47"/>
                        <a:pt x="51" y="53"/>
                      </a:cubicBezTo>
                      <a:cubicBezTo>
                        <a:pt x="37" y="62"/>
                        <a:pt x="21" y="76"/>
                        <a:pt x="21" y="96"/>
                      </a:cubicBezTo>
                      <a:cubicBezTo>
                        <a:pt x="21" y="119"/>
                        <a:pt x="34" y="135"/>
                        <a:pt x="41" y="142"/>
                      </a:cubicBezTo>
                      <a:cubicBezTo>
                        <a:pt x="13" y="256"/>
                        <a:pt x="13" y="256"/>
                        <a:pt x="13" y="256"/>
                      </a:cubicBezTo>
                      <a:cubicBezTo>
                        <a:pt x="11" y="256"/>
                        <a:pt x="11" y="256"/>
                        <a:pt x="11" y="256"/>
                      </a:cubicBezTo>
                      <a:cubicBezTo>
                        <a:pt x="5" y="256"/>
                        <a:pt x="0" y="260"/>
                        <a:pt x="0" y="266"/>
                      </a:cubicBezTo>
                      <a:cubicBezTo>
                        <a:pt x="0" y="309"/>
                        <a:pt x="0" y="309"/>
                        <a:pt x="0" y="309"/>
                      </a:cubicBezTo>
                      <a:cubicBezTo>
                        <a:pt x="0" y="315"/>
                        <a:pt x="5" y="320"/>
                        <a:pt x="11" y="320"/>
                      </a:cubicBezTo>
                      <a:cubicBezTo>
                        <a:pt x="139" y="320"/>
                        <a:pt x="139" y="320"/>
                        <a:pt x="139" y="320"/>
                      </a:cubicBezTo>
                      <a:cubicBezTo>
                        <a:pt x="145" y="320"/>
                        <a:pt x="149" y="315"/>
                        <a:pt x="149" y="309"/>
                      </a:cubicBezTo>
                      <a:cubicBezTo>
                        <a:pt x="149" y="266"/>
                        <a:pt x="149" y="266"/>
                        <a:pt x="149" y="266"/>
                      </a:cubicBezTo>
                      <a:cubicBezTo>
                        <a:pt x="149" y="260"/>
                        <a:pt x="145" y="256"/>
                        <a:pt x="139" y="256"/>
                      </a:cubicBezTo>
                      <a:close/>
                      <a:moveTo>
                        <a:pt x="75" y="21"/>
                      </a:moveTo>
                      <a:cubicBezTo>
                        <a:pt x="81" y="21"/>
                        <a:pt x="85" y="26"/>
                        <a:pt x="85" y="32"/>
                      </a:cubicBezTo>
                      <a:cubicBezTo>
                        <a:pt x="85" y="38"/>
                        <a:pt x="81" y="42"/>
                        <a:pt x="75" y="42"/>
                      </a:cubicBezTo>
                      <a:cubicBezTo>
                        <a:pt x="69" y="42"/>
                        <a:pt x="64" y="38"/>
                        <a:pt x="64" y="32"/>
                      </a:cubicBezTo>
                      <a:cubicBezTo>
                        <a:pt x="64" y="26"/>
                        <a:pt x="69" y="21"/>
                        <a:pt x="75" y="21"/>
                      </a:cubicBezTo>
                      <a:close/>
                      <a:moveTo>
                        <a:pt x="75" y="64"/>
                      </a:moveTo>
                      <a:cubicBezTo>
                        <a:pt x="79" y="67"/>
                        <a:pt x="86" y="70"/>
                        <a:pt x="92" y="74"/>
                      </a:cubicBezTo>
                      <a:cubicBezTo>
                        <a:pt x="78" y="88"/>
                        <a:pt x="78" y="88"/>
                        <a:pt x="78" y="88"/>
                      </a:cubicBezTo>
                      <a:cubicBezTo>
                        <a:pt x="74" y="92"/>
                        <a:pt x="74" y="99"/>
                        <a:pt x="78" y="103"/>
                      </a:cubicBezTo>
                      <a:cubicBezTo>
                        <a:pt x="80" y="105"/>
                        <a:pt x="83" y="106"/>
                        <a:pt x="85" y="106"/>
                      </a:cubicBezTo>
                      <a:cubicBezTo>
                        <a:pt x="88" y="106"/>
                        <a:pt x="91" y="105"/>
                        <a:pt x="93" y="103"/>
                      </a:cubicBezTo>
                      <a:cubicBezTo>
                        <a:pt x="106" y="90"/>
                        <a:pt x="106" y="90"/>
                        <a:pt x="106" y="90"/>
                      </a:cubicBezTo>
                      <a:cubicBezTo>
                        <a:pt x="106" y="92"/>
                        <a:pt x="107" y="94"/>
                        <a:pt x="107" y="96"/>
                      </a:cubicBezTo>
                      <a:cubicBezTo>
                        <a:pt x="107" y="113"/>
                        <a:pt x="97" y="123"/>
                        <a:pt x="92" y="128"/>
                      </a:cubicBezTo>
                      <a:cubicBezTo>
                        <a:pt x="57" y="128"/>
                        <a:pt x="57" y="128"/>
                        <a:pt x="57" y="128"/>
                      </a:cubicBezTo>
                      <a:cubicBezTo>
                        <a:pt x="53" y="123"/>
                        <a:pt x="43" y="112"/>
                        <a:pt x="43" y="96"/>
                      </a:cubicBezTo>
                      <a:cubicBezTo>
                        <a:pt x="43" y="81"/>
                        <a:pt x="64" y="69"/>
                        <a:pt x="75" y="64"/>
                      </a:cubicBezTo>
                      <a:close/>
                      <a:moveTo>
                        <a:pt x="62" y="149"/>
                      </a:moveTo>
                      <a:cubicBezTo>
                        <a:pt x="88" y="149"/>
                        <a:pt x="88" y="149"/>
                        <a:pt x="88" y="149"/>
                      </a:cubicBezTo>
                      <a:cubicBezTo>
                        <a:pt x="114" y="256"/>
                        <a:pt x="114" y="256"/>
                        <a:pt x="114" y="256"/>
                      </a:cubicBezTo>
                      <a:cubicBezTo>
                        <a:pt x="35" y="256"/>
                        <a:pt x="35" y="256"/>
                        <a:pt x="35" y="256"/>
                      </a:cubicBezTo>
                      <a:lnTo>
                        <a:pt x="62" y="149"/>
                      </a:lnTo>
                      <a:close/>
                      <a:moveTo>
                        <a:pt x="128" y="298"/>
                      </a:moveTo>
                      <a:cubicBezTo>
                        <a:pt x="21" y="298"/>
                        <a:pt x="21" y="298"/>
                        <a:pt x="21" y="298"/>
                      </a:cubicBezTo>
                      <a:cubicBezTo>
                        <a:pt x="21" y="277"/>
                        <a:pt x="21" y="277"/>
                        <a:pt x="21" y="277"/>
                      </a:cubicBezTo>
                      <a:cubicBezTo>
                        <a:pt x="128" y="277"/>
                        <a:pt x="128" y="277"/>
                        <a:pt x="128" y="277"/>
                      </a:cubicBezTo>
                      <a:lnTo>
                        <a:pt x="128" y="29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7" name="Freeform 922"/>
                <p:cNvSpPr>
                  <a:spLocks noEditPoints="1"/>
                </p:cNvSpPr>
                <p:nvPr/>
              </p:nvSpPr>
              <p:spPr bwMode="auto">
                <a:xfrm>
                  <a:off x="5645" y="4510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98" name="Group 318"/>
              <p:cNvGrpSpPr>
                <a:grpSpLocks noChangeAspect="1"/>
              </p:cNvGrpSpPr>
              <p:nvPr/>
            </p:nvGrpSpPr>
            <p:grpSpPr bwMode="auto">
              <a:xfrm>
                <a:off x="2378874" y="2142533"/>
                <a:ext cx="457200" cy="457200"/>
                <a:chOff x="5850" y="1203"/>
                <a:chExt cx="340" cy="340"/>
              </a:xfrm>
              <a:solidFill>
                <a:srgbClr val="2C5234"/>
              </a:solidFill>
            </p:grpSpPr>
            <p:sp>
              <p:nvSpPr>
                <p:cNvPr id="299" name="Freeform 319"/>
                <p:cNvSpPr>
                  <a:spLocks noEditPoints="1"/>
                </p:cNvSpPr>
                <p:nvPr/>
              </p:nvSpPr>
              <p:spPr bwMode="auto">
                <a:xfrm>
                  <a:off x="5850" y="1203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0" name="Freeform 320"/>
                <p:cNvSpPr>
                  <a:spLocks noEditPoints="1"/>
                </p:cNvSpPr>
                <p:nvPr/>
              </p:nvSpPr>
              <p:spPr bwMode="auto">
                <a:xfrm>
                  <a:off x="5958" y="1265"/>
                  <a:ext cx="137" cy="207"/>
                </a:xfrm>
                <a:custGeom>
                  <a:avLst/>
                  <a:gdLst>
                    <a:gd name="T0" fmla="*/ 199 w 207"/>
                    <a:gd name="T1" fmla="*/ 40 h 311"/>
                    <a:gd name="T2" fmla="*/ 99 w 207"/>
                    <a:gd name="T3" fmla="*/ 2 h 311"/>
                    <a:gd name="T4" fmla="*/ 85 w 207"/>
                    <a:gd name="T5" fmla="*/ 8 h 311"/>
                    <a:gd name="T6" fmla="*/ 78 w 207"/>
                    <a:gd name="T7" fmla="*/ 28 h 311"/>
                    <a:gd name="T8" fmla="*/ 78 w 207"/>
                    <a:gd name="T9" fmla="*/ 37 h 311"/>
                    <a:gd name="T10" fmla="*/ 82 w 207"/>
                    <a:gd name="T11" fmla="*/ 46 h 311"/>
                    <a:gd name="T12" fmla="*/ 52 w 207"/>
                    <a:gd name="T13" fmla="*/ 125 h 311"/>
                    <a:gd name="T14" fmla="*/ 26 w 207"/>
                    <a:gd name="T15" fmla="*/ 124 h 311"/>
                    <a:gd name="T16" fmla="*/ 16 w 207"/>
                    <a:gd name="T17" fmla="*/ 130 h 311"/>
                    <a:gd name="T18" fmla="*/ 1 w 207"/>
                    <a:gd name="T19" fmla="*/ 170 h 311"/>
                    <a:gd name="T20" fmla="*/ 1 w 207"/>
                    <a:gd name="T21" fmla="*/ 178 h 311"/>
                    <a:gd name="T22" fmla="*/ 7 w 207"/>
                    <a:gd name="T23" fmla="*/ 184 h 311"/>
                    <a:gd name="T24" fmla="*/ 67 w 207"/>
                    <a:gd name="T25" fmla="*/ 207 h 311"/>
                    <a:gd name="T26" fmla="*/ 32 w 207"/>
                    <a:gd name="T27" fmla="*/ 297 h 311"/>
                    <a:gd name="T28" fmla="*/ 38 w 207"/>
                    <a:gd name="T29" fmla="*/ 310 h 311"/>
                    <a:gd name="T30" fmla="*/ 42 w 207"/>
                    <a:gd name="T31" fmla="*/ 311 h 311"/>
                    <a:gd name="T32" fmla="*/ 52 w 207"/>
                    <a:gd name="T33" fmla="*/ 304 h 311"/>
                    <a:gd name="T34" fmla="*/ 86 w 207"/>
                    <a:gd name="T35" fmla="*/ 214 h 311"/>
                    <a:gd name="T36" fmla="*/ 146 w 207"/>
                    <a:gd name="T37" fmla="*/ 237 h 311"/>
                    <a:gd name="T38" fmla="*/ 150 w 207"/>
                    <a:gd name="T39" fmla="*/ 238 h 311"/>
                    <a:gd name="T40" fmla="*/ 160 w 207"/>
                    <a:gd name="T41" fmla="*/ 231 h 311"/>
                    <a:gd name="T42" fmla="*/ 175 w 207"/>
                    <a:gd name="T43" fmla="*/ 191 h 311"/>
                    <a:gd name="T44" fmla="*/ 172 w 207"/>
                    <a:gd name="T45" fmla="*/ 179 h 311"/>
                    <a:gd name="T46" fmla="*/ 152 w 207"/>
                    <a:gd name="T47" fmla="*/ 163 h 311"/>
                    <a:gd name="T48" fmla="*/ 182 w 207"/>
                    <a:gd name="T49" fmla="*/ 84 h 311"/>
                    <a:gd name="T50" fmla="*/ 192 w 207"/>
                    <a:gd name="T51" fmla="*/ 80 h 311"/>
                    <a:gd name="T52" fmla="*/ 197 w 207"/>
                    <a:gd name="T53" fmla="*/ 74 h 311"/>
                    <a:gd name="T54" fmla="*/ 205 w 207"/>
                    <a:gd name="T55" fmla="*/ 54 h 311"/>
                    <a:gd name="T56" fmla="*/ 199 w 207"/>
                    <a:gd name="T57" fmla="*/ 40 h 311"/>
                    <a:gd name="T58" fmla="*/ 179 w 207"/>
                    <a:gd name="T59" fmla="*/ 62 h 311"/>
                    <a:gd name="T60" fmla="*/ 169 w 207"/>
                    <a:gd name="T61" fmla="*/ 67 h 311"/>
                    <a:gd name="T62" fmla="*/ 164 w 207"/>
                    <a:gd name="T63" fmla="*/ 73 h 311"/>
                    <a:gd name="T64" fmla="*/ 129 w 207"/>
                    <a:gd name="T65" fmla="*/ 162 h 311"/>
                    <a:gd name="T66" fmla="*/ 132 w 207"/>
                    <a:gd name="T67" fmla="*/ 174 h 311"/>
                    <a:gd name="T68" fmla="*/ 153 w 207"/>
                    <a:gd name="T69" fmla="*/ 191 h 311"/>
                    <a:gd name="T70" fmla="*/ 144 w 207"/>
                    <a:gd name="T71" fmla="*/ 214 h 311"/>
                    <a:gd name="T72" fmla="*/ 24 w 207"/>
                    <a:gd name="T73" fmla="*/ 168 h 311"/>
                    <a:gd name="T74" fmla="*/ 33 w 207"/>
                    <a:gd name="T75" fmla="*/ 145 h 311"/>
                    <a:gd name="T76" fmla="*/ 59 w 207"/>
                    <a:gd name="T77" fmla="*/ 146 h 311"/>
                    <a:gd name="T78" fmla="*/ 70 w 207"/>
                    <a:gd name="T79" fmla="*/ 139 h 311"/>
                    <a:gd name="T80" fmla="*/ 104 w 207"/>
                    <a:gd name="T81" fmla="*/ 50 h 311"/>
                    <a:gd name="T82" fmla="*/ 104 w 207"/>
                    <a:gd name="T83" fmla="*/ 42 h 311"/>
                    <a:gd name="T84" fmla="*/ 99 w 207"/>
                    <a:gd name="T85" fmla="*/ 32 h 311"/>
                    <a:gd name="T86" fmla="*/ 102 w 207"/>
                    <a:gd name="T87" fmla="*/ 26 h 311"/>
                    <a:gd name="T88" fmla="*/ 181 w 207"/>
                    <a:gd name="T89" fmla="*/ 57 h 311"/>
                    <a:gd name="T90" fmla="*/ 179 w 207"/>
                    <a:gd name="T91" fmla="*/ 62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07" h="311">
                      <a:moveTo>
                        <a:pt x="199" y="40"/>
                      </a:moveTo>
                      <a:cubicBezTo>
                        <a:pt x="99" y="2"/>
                        <a:pt x="99" y="2"/>
                        <a:pt x="99" y="2"/>
                      </a:cubicBezTo>
                      <a:cubicBezTo>
                        <a:pt x="94" y="0"/>
                        <a:pt x="88" y="3"/>
                        <a:pt x="85" y="8"/>
                      </a:cubicBezTo>
                      <a:cubicBezTo>
                        <a:pt x="78" y="28"/>
                        <a:pt x="78" y="28"/>
                        <a:pt x="78" y="28"/>
                      </a:cubicBezTo>
                      <a:cubicBezTo>
                        <a:pt x="77" y="31"/>
                        <a:pt x="77" y="34"/>
                        <a:pt x="78" y="37"/>
                      </a:cubicBezTo>
                      <a:cubicBezTo>
                        <a:pt x="82" y="46"/>
                        <a:pt x="82" y="46"/>
                        <a:pt x="82" y="46"/>
                      </a:cubicBezTo>
                      <a:cubicBezTo>
                        <a:pt x="52" y="125"/>
                        <a:pt x="52" y="125"/>
                        <a:pt x="52" y="125"/>
                      </a:cubicBezTo>
                      <a:cubicBezTo>
                        <a:pt x="26" y="124"/>
                        <a:pt x="26" y="124"/>
                        <a:pt x="26" y="124"/>
                      </a:cubicBezTo>
                      <a:cubicBezTo>
                        <a:pt x="22" y="123"/>
                        <a:pt x="18" y="126"/>
                        <a:pt x="16" y="130"/>
                      </a:cubicBezTo>
                      <a:cubicBezTo>
                        <a:pt x="1" y="170"/>
                        <a:pt x="1" y="170"/>
                        <a:pt x="1" y="170"/>
                      </a:cubicBezTo>
                      <a:cubicBezTo>
                        <a:pt x="0" y="173"/>
                        <a:pt x="0" y="176"/>
                        <a:pt x="1" y="178"/>
                      </a:cubicBezTo>
                      <a:cubicBezTo>
                        <a:pt x="2" y="181"/>
                        <a:pt x="4" y="183"/>
                        <a:pt x="7" y="184"/>
                      </a:cubicBezTo>
                      <a:cubicBezTo>
                        <a:pt x="67" y="207"/>
                        <a:pt x="67" y="207"/>
                        <a:pt x="67" y="207"/>
                      </a:cubicBezTo>
                      <a:cubicBezTo>
                        <a:pt x="32" y="297"/>
                        <a:pt x="32" y="297"/>
                        <a:pt x="32" y="297"/>
                      </a:cubicBezTo>
                      <a:cubicBezTo>
                        <a:pt x="30" y="302"/>
                        <a:pt x="33" y="308"/>
                        <a:pt x="38" y="310"/>
                      </a:cubicBezTo>
                      <a:cubicBezTo>
                        <a:pt x="40" y="311"/>
                        <a:pt x="41" y="311"/>
                        <a:pt x="42" y="311"/>
                      </a:cubicBezTo>
                      <a:cubicBezTo>
                        <a:pt x="46" y="311"/>
                        <a:pt x="50" y="308"/>
                        <a:pt x="52" y="304"/>
                      </a:cubicBezTo>
                      <a:cubicBezTo>
                        <a:pt x="86" y="214"/>
                        <a:pt x="86" y="214"/>
                        <a:pt x="86" y="214"/>
                      </a:cubicBezTo>
                      <a:cubicBezTo>
                        <a:pt x="146" y="237"/>
                        <a:pt x="146" y="237"/>
                        <a:pt x="146" y="237"/>
                      </a:cubicBezTo>
                      <a:cubicBezTo>
                        <a:pt x="147" y="238"/>
                        <a:pt x="149" y="238"/>
                        <a:pt x="150" y="238"/>
                      </a:cubicBezTo>
                      <a:cubicBezTo>
                        <a:pt x="154" y="238"/>
                        <a:pt x="158" y="235"/>
                        <a:pt x="160" y="231"/>
                      </a:cubicBezTo>
                      <a:cubicBezTo>
                        <a:pt x="175" y="191"/>
                        <a:pt x="175" y="191"/>
                        <a:pt x="175" y="191"/>
                      </a:cubicBezTo>
                      <a:cubicBezTo>
                        <a:pt x="177" y="187"/>
                        <a:pt x="176" y="182"/>
                        <a:pt x="172" y="179"/>
                      </a:cubicBezTo>
                      <a:cubicBezTo>
                        <a:pt x="152" y="163"/>
                        <a:pt x="152" y="163"/>
                        <a:pt x="152" y="163"/>
                      </a:cubicBezTo>
                      <a:cubicBezTo>
                        <a:pt x="182" y="84"/>
                        <a:pt x="182" y="84"/>
                        <a:pt x="182" y="84"/>
                      </a:cubicBezTo>
                      <a:cubicBezTo>
                        <a:pt x="192" y="80"/>
                        <a:pt x="192" y="80"/>
                        <a:pt x="192" y="80"/>
                      </a:cubicBezTo>
                      <a:cubicBezTo>
                        <a:pt x="194" y="79"/>
                        <a:pt x="196" y="77"/>
                        <a:pt x="197" y="74"/>
                      </a:cubicBezTo>
                      <a:cubicBezTo>
                        <a:pt x="205" y="54"/>
                        <a:pt x="205" y="54"/>
                        <a:pt x="205" y="54"/>
                      </a:cubicBezTo>
                      <a:cubicBezTo>
                        <a:pt x="207" y="49"/>
                        <a:pt x="204" y="43"/>
                        <a:pt x="199" y="40"/>
                      </a:cubicBezTo>
                      <a:close/>
                      <a:moveTo>
                        <a:pt x="179" y="62"/>
                      </a:moveTo>
                      <a:cubicBezTo>
                        <a:pt x="169" y="67"/>
                        <a:pt x="169" y="67"/>
                        <a:pt x="169" y="67"/>
                      </a:cubicBezTo>
                      <a:cubicBezTo>
                        <a:pt x="167" y="68"/>
                        <a:pt x="165" y="70"/>
                        <a:pt x="164" y="73"/>
                      </a:cubicBezTo>
                      <a:cubicBezTo>
                        <a:pt x="129" y="162"/>
                        <a:pt x="129" y="162"/>
                        <a:pt x="129" y="162"/>
                      </a:cubicBezTo>
                      <a:cubicBezTo>
                        <a:pt x="128" y="167"/>
                        <a:pt x="129" y="172"/>
                        <a:pt x="132" y="174"/>
                      </a:cubicBezTo>
                      <a:cubicBezTo>
                        <a:pt x="153" y="191"/>
                        <a:pt x="153" y="191"/>
                        <a:pt x="153" y="191"/>
                      </a:cubicBezTo>
                      <a:cubicBezTo>
                        <a:pt x="144" y="214"/>
                        <a:pt x="144" y="214"/>
                        <a:pt x="144" y="214"/>
                      </a:cubicBezTo>
                      <a:cubicBezTo>
                        <a:pt x="24" y="168"/>
                        <a:pt x="24" y="168"/>
                        <a:pt x="24" y="168"/>
                      </a:cubicBezTo>
                      <a:cubicBezTo>
                        <a:pt x="33" y="145"/>
                        <a:pt x="33" y="145"/>
                        <a:pt x="33" y="145"/>
                      </a:cubicBezTo>
                      <a:cubicBezTo>
                        <a:pt x="59" y="146"/>
                        <a:pt x="59" y="146"/>
                        <a:pt x="59" y="146"/>
                      </a:cubicBezTo>
                      <a:cubicBezTo>
                        <a:pt x="64" y="147"/>
                        <a:pt x="68" y="144"/>
                        <a:pt x="70" y="139"/>
                      </a:cubicBezTo>
                      <a:cubicBezTo>
                        <a:pt x="104" y="50"/>
                        <a:pt x="104" y="50"/>
                        <a:pt x="104" y="50"/>
                      </a:cubicBezTo>
                      <a:cubicBezTo>
                        <a:pt x="105" y="47"/>
                        <a:pt x="105" y="44"/>
                        <a:pt x="104" y="42"/>
                      </a:cubicBezTo>
                      <a:cubicBezTo>
                        <a:pt x="99" y="32"/>
                        <a:pt x="99" y="32"/>
                        <a:pt x="99" y="32"/>
                      </a:cubicBezTo>
                      <a:cubicBezTo>
                        <a:pt x="102" y="26"/>
                        <a:pt x="102" y="26"/>
                        <a:pt x="102" y="26"/>
                      </a:cubicBezTo>
                      <a:cubicBezTo>
                        <a:pt x="181" y="57"/>
                        <a:pt x="181" y="57"/>
                        <a:pt x="181" y="57"/>
                      </a:cubicBezTo>
                      <a:lnTo>
                        <a:pt x="179" y="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02" name="Group 759"/>
              <p:cNvGrpSpPr>
                <a:grpSpLocks noChangeAspect="1"/>
              </p:cNvGrpSpPr>
              <p:nvPr/>
            </p:nvGrpSpPr>
            <p:grpSpPr bwMode="auto">
              <a:xfrm>
                <a:off x="2377440" y="3749040"/>
                <a:ext cx="457200" cy="457200"/>
                <a:chOff x="2732" y="2698"/>
                <a:chExt cx="340" cy="340"/>
              </a:xfrm>
              <a:solidFill>
                <a:srgbClr val="004F59"/>
              </a:solidFill>
            </p:grpSpPr>
            <p:sp>
              <p:nvSpPr>
                <p:cNvPr id="303" name="Freeform 760"/>
                <p:cNvSpPr>
                  <a:spLocks noEditPoints="1"/>
                </p:cNvSpPr>
                <p:nvPr/>
              </p:nvSpPr>
              <p:spPr bwMode="auto">
                <a:xfrm>
                  <a:off x="2732" y="2698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4" name="Freeform 761"/>
                <p:cNvSpPr>
                  <a:spLocks noEditPoints="1"/>
                </p:cNvSpPr>
                <p:nvPr/>
              </p:nvSpPr>
              <p:spPr bwMode="auto">
                <a:xfrm>
                  <a:off x="2817" y="2762"/>
                  <a:ext cx="170" cy="212"/>
                </a:xfrm>
                <a:custGeom>
                  <a:avLst/>
                  <a:gdLst>
                    <a:gd name="T0" fmla="*/ 245 w 256"/>
                    <a:gd name="T1" fmla="*/ 320 h 320"/>
                    <a:gd name="T2" fmla="*/ 234 w 256"/>
                    <a:gd name="T3" fmla="*/ 309 h 320"/>
                    <a:gd name="T4" fmla="*/ 234 w 256"/>
                    <a:gd name="T5" fmla="*/ 213 h 320"/>
                    <a:gd name="T6" fmla="*/ 192 w 256"/>
                    <a:gd name="T7" fmla="*/ 170 h 320"/>
                    <a:gd name="T8" fmla="*/ 64 w 256"/>
                    <a:gd name="T9" fmla="*/ 170 h 320"/>
                    <a:gd name="T10" fmla="*/ 21 w 256"/>
                    <a:gd name="T11" fmla="*/ 213 h 320"/>
                    <a:gd name="T12" fmla="*/ 21 w 256"/>
                    <a:gd name="T13" fmla="*/ 309 h 320"/>
                    <a:gd name="T14" fmla="*/ 10 w 256"/>
                    <a:gd name="T15" fmla="*/ 320 h 320"/>
                    <a:gd name="T16" fmla="*/ 0 w 256"/>
                    <a:gd name="T17" fmla="*/ 309 h 320"/>
                    <a:gd name="T18" fmla="*/ 0 w 256"/>
                    <a:gd name="T19" fmla="*/ 213 h 320"/>
                    <a:gd name="T20" fmla="*/ 64 w 256"/>
                    <a:gd name="T21" fmla="*/ 149 h 320"/>
                    <a:gd name="T22" fmla="*/ 192 w 256"/>
                    <a:gd name="T23" fmla="*/ 149 h 320"/>
                    <a:gd name="T24" fmla="*/ 256 w 256"/>
                    <a:gd name="T25" fmla="*/ 213 h 320"/>
                    <a:gd name="T26" fmla="*/ 256 w 256"/>
                    <a:gd name="T27" fmla="*/ 309 h 320"/>
                    <a:gd name="T28" fmla="*/ 245 w 256"/>
                    <a:gd name="T29" fmla="*/ 320 h 320"/>
                    <a:gd name="T30" fmla="*/ 192 w 256"/>
                    <a:gd name="T31" fmla="*/ 64 h 320"/>
                    <a:gd name="T32" fmla="*/ 128 w 256"/>
                    <a:gd name="T33" fmla="*/ 0 h 320"/>
                    <a:gd name="T34" fmla="*/ 64 w 256"/>
                    <a:gd name="T35" fmla="*/ 64 h 320"/>
                    <a:gd name="T36" fmla="*/ 128 w 256"/>
                    <a:gd name="T37" fmla="*/ 128 h 320"/>
                    <a:gd name="T38" fmla="*/ 192 w 256"/>
                    <a:gd name="T39" fmla="*/ 64 h 320"/>
                    <a:gd name="T40" fmla="*/ 170 w 256"/>
                    <a:gd name="T41" fmla="*/ 64 h 320"/>
                    <a:gd name="T42" fmla="*/ 128 w 256"/>
                    <a:gd name="T43" fmla="*/ 106 h 320"/>
                    <a:gd name="T44" fmla="*/ 85 w 256"/>
                    <a:gd name="T45" fmla="*/ 64 h 320"/>
                    <a:gd name="T46" fmla="*/ 128 w 256"/>
                    <a:gd name="T47" fmla="*/ 21 h 320"/>
                    <a:gd name="T48" fmla="*/ 170 w 256"/>
                    <a:gd name="T49" fmla="*/ 64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56" h="320">
                      <a:moveTo>
                        <a:pt x="245" y="320"/>
                      </a:moveTo>
                      <a:cubicBezTo>
                        <a:pt x="239" y="320"/>
                        <a:pt x="234" y="315"/>
                        <a:pt x="234" y="309"/>
                      </a:cubicBezTo>
                      <a:cubicBezTo>
                        <a:pt x="234" y="213"/>
                        <a:pt x="234" y="213"/>
                        <a:pt x="234" y="213"/>
                      </a:cubicBezTo>
                      <a:cubicBezTo>
                        <a:pt x="234" y="189"/>
                        <a:pt x="215" y="170"/>
                        <a:pt x="192" y="170"/>
                      </a:cubicBezTo>
                      <a:cubicBezTo>
                        <a:pt x="64" y="170"/>
                        <a:pt x="64" y="170"/>
                        <a:pt x="64" y="170"/>
                      </a:cubicBezTo>
                      <a:cubicBezTo>
                        <a:pt x="40" y="170"/>
                        <a:pt x="21" y="189"/>
                        <a:pt x="21" y="213"/>
                      </a:cubicBezTo>
                      <a:cubicBezTo>
                        <a:pt x="21" y="309"/>
                        <a:pt x="21" y="309"/>
                        <a:pt x="21" y="309"/>
                      </a:cubicBezTo>
                      <a:cubicBezTo>
                        <a:pt x="21" y="315"/>
                        <a:pt x="16" y="320"/>
                        <a:pt x="10" y="320"/>
                      </a:cubicBezTo>
                      <a:cubicBezTo>
                        <a:pt x="4" y="320"/>
                        <a:pt x="0" y="315"/>
                        <a:pt x="0" y="309"/>
                      </a:cubicBezTo>
                      <a:cubicBezTo>
                        <a:pt x="0" y="213"/>
                        <a:pt x="0" y="213"/>
                        <a:pt x="0" y="213"/>
                      </a:cubicBezTo>
                      <a:cubicBezTo>
                        <a:pt x="0" y="178"/>
                        <a:pt x="28" y="149"/>
                        <a:pt x="64" y="149"/>
                      </a:cubicBezTo>
                      <a:cubicBezTo>
                        <a:pt x="192" y="149"/>
                        <a:pt x="192" y="149"/>
                        <a:pt x="192" y="149"/>
                      </a:cubicBezTo>
                      <a:cubicBezTo>
                        <a:pt x="227" y="149"/>
                        <a:pt x="256" y="178"/>
                        <a:pt x="256" y="213"/>
                      </a:cubicBezTo>
                      <a:cubicBezTo>
                        <a:pt x="256" y="309"/>
                        <a:pt x="256" y="309"/>
                        <a:pt x="256" y="309"/>
                      </a:cubicBezTo>
                      <a:cubicBezTo>
                        <a:pt x="256" y="315"/>
                        <a:pt x="251" y="320"/>
                        <a:pt x="245" y="320"/>
                      </a:cubicBezTo>
                      <a:close/>
                      <a:moveTo>
                        <a:pt x="192" y="64"/>
                      </a:moveTo>
                      <a:cubicBezTo>
                        <a:pt x="192" y="28"/>
                        <a:pt x="163" y="0"/>
                        <a:pt x="128" y="0"/>
                      </a:cubicBezTo>
                      <a:cubicBezTo>
                        <a:pt x="92" y="0"/>
                        <a:pt x="64" y="28"/>
                        <a:pt x="64" y="64"/>
                      </a:cubicBezTo>
                      <a:cubicBezTo>
                        <a:pt x="64" y="99"/>
                        <a:pt x="92" y="128"/>
                        <a:pt x="128" y="128"/>
                      </a:cubicBezTo>
                      <a:cubicBezTo>
                        <a:pt x="163" y="128"/>
                        <a:pt x="192" y="99"/>
                        <a:pt x="192" y="64"/>
                      </a:cubicBezTo>
                      <a:close/>
                      <a:moveTo>
                        <a:pt x="170" y="64"/>
                      </a:moveTo>
                      <a:cubicBezTo>
                        <a:pt x="170" y="87"/>
                        <a:pt x="151" y="106"/>
                        <a:pt x="128" y="106"/>
                      </a:cubicBezTo>
                      <a:cubicBezTo>
                        <a:pt x="104" y="106"/>
                        <a:pt x="85" y="87"/>
                        <a:pt x="85" y="64"/>
                      </a:cubicBezTo>
                      <a:cubicBezTo>
                        <a:pt x="85" y="40"/>
                        <a:pt x="104" y="21"/>
                        <a:pt x="128" y="21"/>
                      </a:cubicBezTo>
                      <a:cubicBezTo>
                        <a:pt x="151" y="21"/>
                        <a:pt x="170" y="40"/>
                        <a:pt x="170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05" name="Group 541"/>
              <p:cNvGrpSpPr>
                <a:grpSpLocks noChangeAspect="1"/>
              </p:cNvGrpSpPr>
              <p:nvPr/>
            </p:nvGrpSpPr>
            <p:grpSpPr bwMode="auto">
              <a:xfrm>
                <a:off x="5193792" y="5370505"/>
                <a:ext cx="457200" cy="457201"/>
                <a:chOff x="5326" y="2494"/>
                <a:chExt cx="340" cy="340"/>
              </a:xfrm>
              <a:solidFill>
                <a:schemeClr val="accent5"/>
              </a:solidFill>
            </p:grpSpPr>
            <p:sp>
              <p:nvSpPr>
                <p:cNvPr id="306" name="Freeform 542"/>
                <p:cNvSpPr>
                  <a:spLocks noEditPoints="1"/>
                </p:cNvSpPr>
                <p:nvPr/>
              </p:nvSpPr>
              <p:spPr bwMode="auto">
                <a:xfrm>
                  <a:off x="5430" y="2558"/>
                  <a:ext cx="132" cy="212"/>
                </a:xfrm>
                <a:custGeom>
                  <a:avLst/>
                  <a:gdLst>
                    <a:gd name="T0" fmla="*/ 99 w 199"/>
                    <a:gd name="T1" fmla="*/ 0 h 320"/>
                    <a:gd name="T2" fmla="*/ 99 w 199"/>
                    <a:gd name="T3" fmla="*/ 0 h 320"/>
                    <a:gd name="T4" fmla="*/ 99 w 199"/>
                    <a:gd name="T5" fmla="*/ 0 h 320"/>
                    <a:gd name="T6" fmla="*/ 99 w 199"/>
                    <a:gd name="T7" fmla="*/ 0 h 320"/>
                    <a:gd name="T8" fmla="*/ 98 w 199"/>
                    <a:gd name="T9" fmla="*/ 0 h 320"/>
                    <a:gd name="T10" fmla="*/ 0 w 199"/>
                    <a:gd name="T11" fmla="*/ 95 h 320"/>
                    <a:gd name="T12" fmla="*/ 19 w 199"/>
                    <a:gd name="T13" fmla="*/ 158 h 320"/>
                    <a:gd name="T14" fmla="*/ 45 w 199"/>
                    <a:gd name="T15" fmla="*/ 213 h 320"/>
                    <a:gd name="T16" fmla="*/ 45 w 199"/>
                    <a:gd name="T17" fmla="*/ 245 h 320"/>
                    <a:gd name="T18" fmla="*/ 46 w 199"/>
                    <a:gd name="T19" fmla="*/ 246 h 320"/>
                    <a:gd name="T20" fmla="*/ 45 w 199"/>
                    <a:gd name="T21" fmla="*/ 247 h 320"/>
                    <a:gd name="T22" fmla="*/ 56 w 199"/>
                    <a:gd name="T23" fmla="*/ 311 h 320"/>
                    <a:gd name="T24" fmla="*/ 67 w 199"/>
                    <a:gd name="T25" fmla="*/ 320 h 320"/>
                    <a:gd name="T26" fmla="*/ 131 w 199"/>
                    <a:gd name="T27" fmla="*/ 320 h 320"/>
                    <a:gd name="T28" fmla="*/ 141 w 199"/>
                    <a:gd name="T29" fmla="*/ 311 h 320"/>
                    <a:gd name="T30" fmla="*/ 152 w 199"/>
                    <a:gd name="T31" fmla="*/ 247 h 320"/>
                    <a:gd name="T32" fmla="*/ 152 w 199"/>
                    <a:gd name="T33" fmla="*/ 246 h 320"/>
                    <a:gd name="T34" fmla="*/ 152 w 199"/>
                    <a:gd name="T35" fmla="*/ 245 h 320"/>
                    <a:gd name="T36" fmla="*/ 152 w 199"/>
                    <a:gd name="T37" fmla="*/ 213 h 320"/>
                    <a:gd name="T38" fmla="*/ 179 w 199"/>
                    <a:gd name="T39" fmla="*/ 158 h 320"/>
                    <a:gd name="T40" fmla="*/ 199 w 199"/>
                    <a:gd name="T41" fmla="*/ 95 h 320"/>
                    <a:gd name="T42" fmla="*/ 99 w 199"/>
                    <a:gd name="T43" fmla="*/ 0 h 320"/>
                    <a:gd name="T44" fmla="*/ 122 w 199"/>
                    <a:gd name="T45" fmla="*/ 298 h 320"/>
                    <a:gd name="T46" fmla="*/ 76 w 199"/>
                    <a:gd name="T47" fmla="*/ 298 h 320"/>
                    <a:gd name="T48" fmla="*/ 69 w 199"/>
                    <a:gd name="T49" fmla="*/ 256 h 320"/>
                    <a:gd name="T50" fmla="*/ 129 w 199"/>
                    <a:gd name="T51" fmla="*/ 256 h 320"/>
                    <a:gd name="T52" fmla="*/ 122 w 199"/>
                    <a:gd name="T53" fmla="*/ 298 h 320"/>
                    <a:gd name="T54" fmla="*/ 161 w 199"/>
                    <a:gd name="T55" fmla="*/ 147 h 320"/>
                    <a:gd name="T56" fmla="*/ 131 w 199"/>
                    <a:gd name="T57" fmla="*/ 213 h 320"/>
                    <a:gd name="T58" fmla="*/ 131 w 199"/>
                    <a:gd name="T59" fmla="*/ 234 h 320"/>
                    <a:gd name="T60" fmla="*/ 109 w 199"/>
                    <a:gd name="T61" fmla="*/ 234 h 320"/>
                    <a:gd name="T62" fmla="*/ 109 w 199"/>
                    <a:gd name="T63" fmla="*/ 153 h 320"/>
                    <a:gd name="T64" fmla="*/ 128 w 199"/>
                    <a:gd name="T65" fmla="*/ 135 h 320"/>
                    <a:gd name="T66" fmla="*/ 128 w 199"/>
                    <a:gd name="T67" fmla="*/ 120 h 320"/>
                    <a:gd name="T68" fmla="*/ 112 w 199"/>
                    <a:gd name="T69" fmla="*/ 120 h 320"/>
                    <a:gd name="T70" fmla="*/ 99 w 199"/>
                    <a:gd name="T71" fmla="*/ 134 h 320"/>
                    <a:gd name="T72" fmla="*/ 85 w 199"/>
                    <a:gd name="T73" fmla="*/ 120 h 320"/>
                    <a:gd name="T74" fmla="*/ 70 w 199"/>
                    <a:gd name="T75" fmla="*/ 120 h 320"/>
                    <a:gd name="T76" fmla="*/ 70 w 199"/>
                    <a:gd name="T77" fmla="*/ 135 h 320"/>
                    <a:gd name="T78" fmla="*/ 88 w 199"/>
                    <a:gd name="T79" fmla="*/ 153 h 320"/>
                    <a:gd name="T80" fmla="*/ 88 w 199"/>
                    <a:gd name="T81" fmla="*/ 234 h 320"/>
                    <a:gd name="T82" fmla="*/ 67 w 199"/>
                    <a:gd name="T83" fmla="*/ 234 h 320"/>
                    <a:gd name="T84" fmla="*/ 67 w 199"/>
                    <a:gd name="T85" fmla="*/ 213 h 320"/>
                    <a:gd name="T86" fmla="*/ 37 w 199"/>
                    <a:gd name="T87" fmla="*/ 146 h 320"/>
                    <a:gd name="T88" fmla="*/ 21 w 199"/>
                    <a:gd name="T89" fmla="*/ 95 h 320"/>
                    <a:gd name="T90" fmla="*/ 99 w 199"/>
                    <a:gd name="T91" fmla="*/ 21 h 320"/>
                    <a:gd name="T92" fmla="*/ 177 w 199"/>
                    <a:gd name="T93" fmla="*/ 95 h 320"/>
                    <a:gd name="T94" fmla="*/ 161 w 199"/>
                    <a:gd name="T95" fmla="*/ 147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99" h="320">
                      <a:moveTo>
                        <a:pt x="99" y="0"/>
                      </a:moveTo>
                      <a:cubicBezTo>
                        <a:pt x="99" y="0"/>
                        <a:pt x="99" y="0"/>
                        <a:pt x="99" y="0"/>
                      </a:cubicBezTo>
                      <a:cubicBezTo>
                        <a:pt x="99" y="0"/>
                        <a:pt x="99" y="0"/>
                        <a:pt x="99" y="0"/>
                      </a:cubicBezTo>
                      <a:cubicBezTo>
                        <a:pt x="99" y="0"/>
                        <a:pt x="99" y="0"/>
                        <a:pt x="99" y="0"/>
                      </a:cubicBezTo>
                      <a:cubicBezTo>
                        <a:pt x="99" y="0"/>
                        <a:pt x="99" y="0"/>
                        <a:pt x="98" y="0"/>
                      </a:cubicBezTo>
                      <a:cubicBezTo>
                        <a:pt x="45" y="0"/>
                        <a:pt x="0" y="44"/>
                        <a:pt x="0" y="95"/>
                      </a:cubicBezTo>
                      <a:cubicBezTo>
                        <a:pt x="0" y="129"/>
                        <a:pt x="18" y="157"/>
                        <a:pt x="19" y="158"/>
                      </a:cubicBezTo>
                      <a:cubicBezTo>
                        <a:pt x="32" y="179"/>
                        <a:pt x="45" y="206"/>
                        <a:pt x="45" y="213"/>
                      </a:cubicBezTo>
                      <a:cubicBezTo>
                        <a:pt x="45" y="245"/>
                        <a:pt x="45" y="245"/>
                        <a:pt x="45" y="245"/>
                      </a:cubicBezTo>
                      <a:cubicBezTo>
                        <a:pt x="45" y="245"/>
                        <a:pt x="45" y="246"/>
                        <a:pt x="46" y="246"/>
                      </a:cubicBezTo>
                      <a:cubicBezTo>
                        <a:pt x="46" y="246"/>
                        <a:pt x="45" y="246"/>
                        <a:pt x="45" y="247"/>
                      </a:cubicBezTo>
                      <a:cubicBezTo>
                        <a:pt x="56" y="311"/>
                        <a:pt x="56" y="311"/>
                        <a:pt x="56" y="311"/>
                      </a:cubicBezTo>
                      <a:cubicBezTo>
                        <a:pt x="57" y="316"/>
                        <a:pt x="61" y="320"/>
                        <a:pt x="67" y="320"/>
                      </a:cubicBezTo>
                      <a:cubicBezTo>
                        <a:pt x="131" y="320"/>
                        <a:pt x="131" y="320"/>
                        <a:pt x="131" y="320"/>
                      </a:cubicBezTo>
                      <a:cubicBezTo>
                        <a:pt x="136" y="320"/>
                        <a:pt x="140" y="316"/>
                        <a:pt x="141" y="311"/>
                      </a:cubicBezTo>
                      <a:cubicBezTo>
                        <a:pt x="152" y="247"/>
                        <a:pt x="152" y="247"/>
                        <a:pt x="152" y="247"/>
                      </a:cubicBezTo>
                      <a:cubicBezTo>
                        <a:pt x="152" y="246"/>
                        <a:pt x="152" y="246"/>
                        <a:pt x="152" y="246"/>
                      </a:cubicBezTo>
                      <a:cubicBezTo>
                        <a:pt x="152" y="246"/>
                        <a:pt x="152" y="245"/>
                        <a:pt x="152" y="245"/>
                      </a:cubicBezTo>
                      <a:cubicBezTo>
                        <a:pt x="152" y="213"/>
                        <a:pt x="152" y="213"/>
                        <a:pt x="152" y="213"/>
                      </a:cubicBezTo>
                      <a:cubicBezTo>
                        <a:pt x="152" y="206"/>
                        <a:pt x="166" y="179"/>
                        <a:pt x="179" y="158"/>
                      </a:cubicBezTo>
                      <a:cubicBezTo>
                        <a:pt x="180" y="157"/>
                        <a:pt x="199" y="129"/>
                        <a:pt x="199" y="95"/>
                      </a:cubicBezTo>
                      <a:cubicBezTo>
                        <a:pt x="199" y="44"/>
                        <a:pt x="153" y="0"/>
                        <a:pt x="99" y="0"/>
                      </a:cubicBezTo>
                      <a:close/>
                      <a:moveTo>
                        <a:pt x="122" y="298"/>
                      </a:moveTo>
                      <a:cubicBezTo>
                        <a:pt x="76" y="298"/>
                        <a:pt x="76" y="298"/>
                        <a:pt x="76" y="298"/>
                      </a:cubicBezTo>
                      <a:cubicBezTo>
                        <a:pt x="69" y="256"/>
                        <a:pt x="69" y="256"/>
                        <a:pt x="69" y="256"/>
                      </a:cubicBezTo>
                      <a:cubicBezTo>
                        <a:pt x="129" y="256"/>
                        <a:pt x="129" y="256"/>
                        <a:pt x="129" y="256"/>
                      </a:cubicBezTo>
                      <a:lnTo>
                        <a:pt x="122" y="298"/>
                      </a:lnTo>
                      <a:close/>
                      <a:moveTo>
                        <a:pt x="161" y="147"/>
                      </a:moveTo>
                      <a:cubicBezTo>
                        <a:pt x="154" y="158"/>
                        <a:pt x="131" y="196"/>
                        <a:pt x="131" y="213"/>
                      </a:cubicBezTo>
                      <a:cubicBezTo>
                        <a:pt x="131" y="234"/>
                        <a:pt x="131" y="234"/>
                        <a:pt x="131" y="234"/>
                      </a:cubicBezTo>
                      <a:cubicBezTo>
                        <a:pt x="109" y="234"/>
                        <a:pt x="109" y="234"/>
                        <a:pt x="109" y="234"/>
                      </a:cubicBezTo>
                      <a:cubicBezTo>
                        <a:pt x="109" y="153"/>
                        <a:pt x="109" y="153"/>
                        <a:pt x="109" y="153"/>
                      </a:cubicBezTo>
                      <a:cubicBezTo>
                        <a:pt x="128" y="135"/>
                        <a:pt x="128" y="135"/>
                        <a:pt x="128" y="135"/>
                      </a:cubicBezTo>
                      <a:cubicBezTo>
                        <a:pt x="132" y="131"/>
                        <a:pt x="132" y="124"/>
                        <a:pt x="128" y="120"/>
                      </a:cubicBezTo>
                      <a:cubicBezTo>
                        <a:pt x="123" y="116"/>
                        <a:pt x="117" y="116"/>
                        <a:pt x="112" y="120"/>
                      </a:cubicBezTo>
                      <a:cubicBezTo>
                        <a:pt x="99" y="134"/>
                        <a:pt x="99" y="134"/>
                        <a:pt x="99" y="134"/>
                      </a:cubicBezTo>
                      <a:cubicBezTo>
                        <a:pt x="85" y="120"/>
                        <a:pt x="85" y="120"/>
                        <a:pt x="85" y="120"/>
                      </a:cubicBezTo>
                      <a:cubicBezTo>
                        <a:pt x="81" y="116"/>
                        <a:pt x="74" y="116"/>
                        <a:pt x="70" y="120"/>
                      </a:cubicBezTo>
                      <a:cubicBezTo>
                        <a:pt x="66" y="124"/>
                        <a:pt x="66" y="131"/>
                        <a:pt x="70" y="135"/>
                      </a:cubicBezTo>
                      <a:cubicBezTo>
                        <a:pt x="88" y="153"/>
                        <a:pt x="88" y="153"/>
                        <a:pt x="88" y="153"/>
                      </a:cubicBezTo>
                      <a:cubicBezTo>
                        <a:pt x="88" y="234"/>
                        <a:pt x="88" y="234"/>
                        <a:pt x="88" y="234"/>
                      </a:cubicBezTo>
                      <a:cubicBezTo>
                        <a:pt x="67" y="234"/>
                        <a:pt x="67" y="234"/>
                        <a:pt x="67" y="234"/>
                      </a:cubicBezTo>
                      <a:cubicBezTo>
                        <a:pt x="67" y="213"/>
                        <a:pt x="67" y="213"/>
                        <a:pt x="67" y="213"/>
                      </a:cubicBezTo>
                      <a:cubicBezTo>
                        <a:pt x="67" y="196"/>
                        <a:pt x="44" y="158"/>
                        <a:pt x="37" y="146"/>
                      </a:cubicBezTo>
                      <a:cubicBezTo>
                        <a:pt x="37" y="146"/>
                        <a:pt x="21" y="123"/>
                        <a:pt x="21" y="95"/>
                      </a:cubicBezTo>
                      <a:cubicBezTo>
                        <a:pt x="21" y="55"/>
                        <a:pt x="57" y="21"/>
                        <a:pt x="99" y="21"/>
                      </a:cubicBezTo>
                      <a:cubicBezTo>
                        <a:pt x="141" y="21"/>
                        <a:pt x="177" y="55"/>
                        <a:pt x="177" y="95"/>
                      </a:cubicBezTo>
                      <a:cubicBezTo>
                        <a:pt x="177" y="122"/>
                        <a:pt x="161" y="146"/>
                        <a:pt x="161" y="1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7" name="Freeform 543"/>
                <p:cNvSpPr>
                  <a:spLocks noEditPoints="1"/>
                </p:cNvSpPr>
                <p:nvPr/>
              </p:nvSpPr>
              <p:spPr bwMode="auto">
                <a:xfrm>
                  <a:off x="5326" y="2494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08" name="Group 345"/>
              <p:cNvGrpSpPr>
                <a:grpSpLocks noChangeAspect="1"/>
              </p:cNvGrpSpPr>
              <p:nvPr/>
            </p:nvGrpSpPr>
            <p:grpSpPr bwMode="auto">
              <a:xfrm>
                <a:off x="3466164" y="1097283"/>
                <a:ext cx="457201" cy="457201"/>
                <a:chOff x="3451" y="1171"/>
                <a:chExt cx="340" cy="340"/>
              </a:xfrm>
              <a:solidFill>
                <a:srgbClr val="0097A9"/>
              </a:solidFill>
            </p:grpSpPr>
            <p:sp>
              <p:nvSpPr>
                <p:cNvPr id="309" name="Freeform 346"/>
                <p:cNvSpPr>
                  <a:spLocks noEditPoints="1"/>
                </p:cNvSpPr>
                <p:nvPr/>
              </p:nvSpPr>
              <p:spPr bwMode="auto">
                <a:xfrm>
                  <a:off x="3515" y="1241"/>
                  <a:ext cx="212" cy="192"/>
                </a:xfrm>
                <a:custGeom>
                  <a:avLst/>
                  <a:gdLst>
                    <a:gd name="T0" fmla="*/ 224 w 320"/>
                    <a:gd name="T1" fmla="*/ 288 h 288"/>
                    <a:gd name="T2" fmla="*/ 170 w 320"/>
                    <a:gd name="T3" fmla="*/ 288 h 288"/>
                    <a:gd name="T4" fmla="*/ 160 w 320"/>
                    <a:gd name="T5" fmla="*/ 278 h 288"/>
                    <a:gd name="T6" fmla="*/ 160 w 320"/>
                    <a:gd name="T7" fmla="*/ 267 h 288"/>
                    <a:gd name="T8" fmla="*/ 138 w 320"/>
                    <a:gd name="T9" fmla="*/ 267 h 288"/>
                    <a:gd name="T10" fmla="*/ 138 w 320"/>
                    <a:gd name="T11" fmla="*/ 278 h 288"/>
                    <a:gd name="T12" fmla="*/ 128 w 320"/>
                    <a:gd name="T13" fmla="*/ 288 h 288"/>
                    <a:gd name="T14" fmla="*/ 74 w 320"/>
                    <a:gd name="T15" fmla="*/ 288 h 288"/>
                    <a:gd name="T16" fmla="*/ 64 w 320"/>
                    <a:gd name="T17" fmla="*/ 278 h 288"/>
                    <a:gd name="T18" fmla="*/ 27 w 320"/>
                    <a:gd name="T19" fmla="*/ 235 h 288"/>
                    <a:gd name="T20" fmla="*/ 18 w 320"/>
                    <a:gd name="T21" fmla="*/ 230 h 288"/>
                    <a:gd name="T22" fmla="*/ 0 w 320"/>
                    <a:gd name="T23" fmla="*/ 160 h 288"/>
                    <a:gd name="T24" fmla="*/ 138 w 320"/>
                    <a:gd name="T25" fmla="*/ 22 h 288"/>
                    <a:gd name="T26" fmla="*/ 198 w 320"/>
                    <a:gd name="T27" fmla="*/ 30 h 288"/>
                    <a:gd name="T28" fmla="*/ 255 w 320"/>
                    <a:gd name="T29" fmla="*/ 0 h 288"/>
                    <a:gd name="T30" fmla="*/ 264 w 320"/>
                    <a:gd name="T31" fmla="*/ 4 h 288"/>
                    <a:gd name="T32" fmla="*/ 266 w 320"/>
                    <a:gd name="T33" fmla="*/ 14 h 288"/>
                    <a:gd name="T34" fmla="*/ 257 w 320"/>
                    <a:gd name="T35" fmla="*/ 49 h 288"/>
                    <a:gd name="T36" fmla="*/ 294 w 320"/>
                    <a:gd name="T37" fmla="*/ 96 h 288"/>
                    <a:gd name="T38" fmla="*/ 309 w 320"/>
                    <a:gd name="T39" fmla="*/ 96 h 288"/>
                    <a:gd name="T40" fmla="*/ 320 w 320"/>
                    <a:gd name="T41" fmla="*/ 107 h 288"/>
                    <a:gd name="T42" fmla="*/ 320 w 320"/>
                    <a:gd name="T43" fmla="*/ 171 h 288"/>
                    <a:gd name="T44" fmla="*/ 309 w 320"/>
                    <a:gd name="T45" fmla="*/ 182 h 288"/>
                    <a:gd name="T46" fmla="*/ 275 w 320"/>
                    <a:gd name="T47" fmla="*/ 182 h 288"/>
                    <a:gd name="T48" fmla="*/ 234 w 320"/>
                    <a:gd name="T49" fmla="*/ 259 h 288"/>
                    <a:gd name="T50" fmla="*/ 234 w 320"/>
                    <a:gd name="T51" fmla="*/ 278 h 288"/>
                    <a:gd name="T52" fmla="*/ 224 w 320"/>
                    <a:gd name="T53" fmla="*/ 288 h 288"/>
                    <a:gd name="T54" fmla="*/ 181 w 320"/>
                    <a:gd name="T55" fmla="*/ 267 h 288"/>
                    <a:gd name="T56" fmla="*/ 213 w 320"/>
                    <a:gd name="T57" fmla="*/ 267 h 288"/>
                    <a:gd name="T58" fmla="*/ 213 w 320"/>
                    <a:gd name="T59" fmla="*/ 255 h 288"/>
                    <a:gd name="T60" fmla="*/ 216 w 320"/>
                    <a:gd name="T61" fmla="*/ 248 h 288"/>
                    <a:gd name="T62" fmla="*/ 255 w 320"/>
                    <a:gd name="T63" fmla="*/ 170 h 288"/>
                    <a:gd name="T64" fmla="*/ 266 w 320"/>
                    <a:gd name="T65" fmla="*/ 160 h 288"/>
                    <a:gd name="T66" fmla="*/ 298 w 320"/>
                    <a:gd name="T67" fmla="*/ 160 h 288"/>
                    <a:gd name="T68" fmla="*/ 298 w 320"/>
                    <a:gd name="T69" fmla="*/ 118 h 288"/>
                    <a:gd name="T70" fmla="*/ 288 w 320"/>
                    <a:gd name="T71" fmla="*/ 118 h 288"/>
                    <a:gd name="T72" fmla="*/ 278 w 320"/>
                    <a:gd name="T73" fmla="*/ 112 h 288"/>
                    <a:gd name="T74" fmla="*/ 240 w 320"/>
                    <a:gd name="T75" fmla="*/ 63 h 288"/>
                    <a:gd name="T76" fmla="*/ 235 w 320"/>
                    <a:gd name="T77" fmla="*/ 51 h 288"/>
                    <a:gd name="T78" fmla="*/ 241 w 320"/>
                    <a:gd name="T79" fmla="*/ 25 h 288"/>
                    <a:gd name="T80" fmla="*/ 212 w 320"/>
                    <a:gd name="T81" fmla="*/ 48 h 288"/>
                    <a:gd name="T82" fmla="*/ 199 w 320"/>
                    <a:gd name="T83" fmla="*/ 53 h 288"/>
                    <a:gd name="T84" fmla="*/ 138 w 320"/>
                    <a:gd name="T85" fmla="*/ 43 h 288"/>
                    <a:gd name="T86" fmla="*/ 21 w 320"/>
                    <a:gd name="T87" fmla="*/ 160 h 288"/>
                    <a:gd name="T88" fmla="*/ 34 w 320"/>
                    <a:gd name="T89" fmla="*/ 214 h 288"/>
                    <a:gd name="T90" fmla="*/ 84 w 320"/>
                    <a:gd name="T91" fmla="*/ 267 h 288"/>
                    <a:gd name="T92" fmla="*/ 117 w 320"/>
                    <a:gd name="T93" fmla="*/ 267 h 288"/>
                    <a:gd name="T94" fmla="*/ 117 w 320"/>
                    <a:gd name="T95" fmla="*/ 256 h 288"/>
                    <a:gd name="T96" fmla="*/ 128 w 320"/>
                    <a:gd name="T97" fmla="*/ 246 h 288"/>
                    <a:gd name="T98" fmla="*/ 170 w 320"/>
                    <a:gd name="T99" fmla="*/ 246 h 288"/>
                    <a:gd name="T100" fmla="*/ 181 w 320"/>
                    <a:gd name="T101" fmla="*/ 256 h 288"/>
                    <a:gd name="T102" fmla="*/ 181 w 320"/>
                    <a:gd name="T103" fmla="*/ 267 h 288"/>
                    <a:gd name="T104" fmla="*/ 82 w 320"/>
                    <a:gd name="T105" fmla="*/ 104 h 288"/>
                    <a:gd name="T106" fmla="*/ 130 w 320"/>
                    <a:gd name="T107" fmla="*/ 79 h 288"/>
                    <a:gd name="T108" fmla="*/ 138 w 320"/>
                    <a:gd name="T109" fmla="*/ 66 h 288"/>
                    <a:gd name="T110" fmla="*/ 125 w 320"/>
                    <a:gd name="T111" fmla="*/ 58 h 288"/>
                    <a:gd name="T112" fmla="*/ 68 w 320"/>
                    <a:gd name="T113" fmla="*/ 88 h 288"/>
                    <a:gd name="T114" fmla="*/ 67 w 320"/>
                    <a:gd name="T115" fmla="*/ 103 h 288"/>
                    <a:gd name="T116" fmla="*/ 75 w 320"/>
                    <a:gd name="T117" fmla="*/ 107 h 288"/>
                    <a:gd name="T118" fmla="*/ 82 w 320"/>
                    <a:gd name="T119" fmla="*/ 104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20" h="288">
                      <a:moveTo>
                        <a:pt x="224" y="288"/>
                      </a:moveTo>
                      <a:cubicBezTo>
                        <a:pt x="170" y="288"/>
                        <a:pt x="170" y="288"/>
                        <a:pt x="170" y="288"/>
                      </a:cubicBezTo>
                      <a:cubicBezTo>
                        <a:pt x="164" y="288"/>
                        <a:pt x="160" y="284"/>
                        <a:pt x="160" y="278"/>
                      </a:cubicBezTo>
                      <a:cubicBezTo>
                        <a:pt x="160" y="267"/>
                        <a:pt x="160" y="267"/>
                        <a:pt x="160" y="267"/>
                      </a:cubicBezTo>
                      <a:cubicBezTo>
                        <a:pt x="138" y="267"/>
                        <a:pt x="138" y="267"/>
                        <a:pt x="138" y="267"/>
                      </a:cubicBezTo>
                      <a:cubicBezTo>
                        <a:pt x="138" y="278"/>
                        <a:pt x="138" y="278"/>
                        <a:pt x="138" y="278"/>
                      </a:cubicBezTo>
                      <a:cubicBezTo>
                        <a:pt x="138" y="284"/>
                        <a:pt x="134" y="288"/>
                        <a:pt x="128" y="288"/>
                      </a:cubicBezTo>
                      <a:cubicBezTo>
                        <a:pt x="74" y="288"/>
                        <a:pt x="74" y="288"/>
                        <a:pt x="74" y="288"/>
                      </a:cubicBezTo>
                      <a:cubicBezTo>
                        <a:pt x="68" y="288"/>
                        <a:pt x="64" y="284"/>
                        <a:pt x="64" y="278"/>
                      </a:cubicBezTo>
                      <a:cubicBezTo>
                        <a:pt x="64" y="237"/>
                        <a:pt x="29" y="235"/>
                        <a:pt x="27" y="235"/>
                      </a:cubicBezTo>
                      <a:cubicBezTo>
                        <a:pt x="23" y="235"/>
                        <a:pt x="20" y="233"/>
                        <a:pt x="18" y="230"/>
                      </a:cubicBezTo>
                      <a:cubicBezTo>
                        <a:pt x="6" y="209"/>
                        <a:pt x="0" y="185"/>
                        <a:pt x="0" y="160"/>
                      </a:cubicBezTo>
                      <a:cubicBezTo>
                        <a:pt x="0" y="84"/>
                        <a:pt x="62" y="22"/>
                        <a:pt x="138" y="22"/>
                      </a:cubicBezTo>
                      <a:cubicBezTo>
                        <a:pt x="160" y="22"/>
                        <a:pt x="179" y="24"/>
                        <a:pt x="198" y="30"/>
                      </a:cubicBezTo>
                      <a:cubicBezTo>
                        <a:pt x="217" y="3"/>
                        <a:pt x="253" y="0"/>
                        <a:pt x="255" y="0"/>
                      </a:cubicBezTo>
                      <a:cubicBezTo>
                        <a:pt x="259" y="0"/>
                        <a:pt x="262" y="2"/>
                        <a:pt x="264" y="4"/>
                      </a:cubicBezTo>
                      <a:cubicBezTo>
                        <a:pt x="266" y="7"/>
                        <a:pt x="267" y="10"/>
                        <a:pt x="266" y="14"/>
                      </a:cubicBezTo>
                      <a:cubicBezTo>
                        <a:pt x="257" y="49"/>
                        <a:pt x="257" y="49"/>
                        <a:pt x="257" y="49"/>
                      </a:cubicBezTo>
                      <a:cubicBezTo>
                        <a:pt x="275" y="63"/>
                        <a:pt x="288" y="85"/>
                        <a:pt x="294" y="96"/>
                      </a:cubicBezTo>
                      <a:cubicBezTo>
                        <a:pt x="309" y="96"/>
                        <a:pt x="309" y="96"/>
                        <a:pt x="309" y="96"/>
                      </a:cubicBezTo>
                      <a:cubicBezTo>
                        <a:pt x="315" y="96"/>
                        <a:pt x="320" y="101"/>
                        <a:pt x="320" y="107"/>
                      </a:cubicBezTo>
                      <a:cubicBezTo>
                        <a:pt x="320" y="171"/>
                        <a:pt x="320" y="171"/>
                        <a:pt x="320" y="171"/>
                      </a:cubicBezTo>
                      <a:cubicBezTo>
                        <a:pt x="320" y="177"/>
                        <a:pt x="315" y="182"/>
                        <a:pt x="309" y="182"/>
                      </a:cubicBezTo>
                      <a:cubicBezTo>
                        <a:pt x="275" y="182"/>
                        <a:pt x="275" y="182"/>
                        <a:pt x="275" y="182"/>
                      </a:cubicBezTo>
                      <a:cubicBezTo>
                        <a:pt x="269" y="217"/>
                        <a:pt x="249" y="244"/>
                        <a:pt x="234" y="259"/>
                      </a:cubicBezTo>
                      <a:cubicBezTo>
                        <a:pt x="234" y="278"/>
                        <a:pt x="234" y="278"/>
                        <a:pt x="234" y="278"/>
                      </a:cubicBezTo>
                      <a:cubicBezTo>
                        <a:pt x="234" y="284"/>
                        <a:pt x="230" y="288"/>
                        <a:pt x="224" y="288"/>
                      </a:cubicBezTo>
                      <a:close/>
                      <a:moveTo>
                        <a:pt x="181" y="267"/>
                      </a:moveTo>
                      <a:cubicBezTo>
                        <a:pt x="213" y="267"/>
                        <a:pt x="213" y="267"/>
                        <a:pt x="213" y="267"/>
                      </a:cubicBezTo>
                      <a:cubicBezTo>
                        <a:pt x="213" y="255"/>
                        <a:pt x="213" y="255"/>
                        <a:pt x="213" y="255"/>
                      </a:cubicBezTo>
                      <a:cubicBezTo>
                        <a:pt x="213" y="252"/>
                        <a:pt x="214" y="250"/>
                        <a:pt x="216" y="248"/>
                      </a:cubicBezTo>
                      <a:cubicBezTo>
                        <a:pt x="239" y="225"/>
                        <a:pt x="253" y="197"/>
                        <a:pt x="255" y="170"/>
                      </a:cubicBezTo>
                      <a:cubicBezTo>
                        <a:pt x="256" y="165"/>
                        <a:pt x="260" y="160"/>
                        <a:pt x="266" y="160"/>
                      </a:cubicBezTo>
                      <a:cubicBezTo>
                        <a:pt x="298" y="160"/>
                        <a:pt x="298" y="160"/>
                        <a:pt x="298" y="160"/>
                      </a:cubicBezTo>
                      <a:cubicBezTo>
                        <a:pt x="298" y="118"/>
                        <a:pt x="298" y="118"/>
                        <a:pt x="298" y="118"/>
                      </a:cubicBezTo>
                      <a:cubicBezTo>
                        <a:pt x="288" y="118"/>
                        <a:pt x="288" y="118"/>
                        <a:pt x="288" y="118"/>
                      </a:cubicBezTo>
                      <a:cubicBezTo>
                        <a:pt x="284" y="118"/>
                        <a:pt x="280" y="115"/>
                        <a:pt x="278" y="112"/>
                      </a:cubicBezTo>
                      <a:cubicBezTo>
                        <a:pt x="278" y="111"/>
                        <a:pt x="261" y="76"/>
                        <a:pt x="240" y="63"/>
                      </a:cubicBezTo>
                      <a:cubicBezTo>
                        <a:pt x="236" y="60"/>
                        <a:pt x="234" y="56"/>
                        <a:pt x="235" y="51"/>
                      </a:cubicBezTo>
                      <a:cubicBezTo>
                        <a:pt x="241" y="25"/>
                        <a:pt x="241" y="25"/>
                        <a:pt x="241" y="25"/>
                      </a:cubicBezTo>
                      <a:cubicBezTo>
                        <a:pt x="231" y="28"/>
                        <a:pt x="218" y="35"/>
                        <a:pt x="212" y="48"/>
                      </a:cubicBezTo>
                      <a:cubicBezTo>
                        <a:pt x="210" y="53"/>
                        <a:pt x="204" y="55"/>
                        <a:pt x="199" y="53"/>
                      </a:cubicBezTo>
                      <a:cubicBezTo>
                        <a:pt x="180" y="46"/>
                        <a:pt x="161" y="43"/>
                        <a:pt x="138" y="43"/>
                      </a:cubicBezTo>
                      <a:cubicBezTo>
                        <a:pt x="74" y="43"/>
                        <a:pt x="21" y="96"/>
                        <a:pt x="21" y="160"/>
                      </a:cubicBezTo>
                      <a:cubicBezTo>
                        <a:pt x="21" y="179"/>
                        <a:pt x="26" y="198"/>
                        <a:pt x="34" y="214"/>
                      </a:cubicBezTo>
                      <a:cubicBezTo>
                        <a:pt x="53" y="217"/>
                        <a:pt x="80" y="231"/>
                        <a:pt x="84" y="267"/>
                      </a:cubicBezTo>
                      <a:cubicBezTo>
                        <a:pt x="117" y="267"/>
                        <a:pt x="117" y="267"/>
                        <a:pt x="117" y="267"/>
                      </a:cubicBezTo>
                      <a:cubicBezTo>
                        <a:pt x="117" y="256"/>
                        <a:pt x="117" y="256"/>
                        <a:pt x="117" y="256"/>
                      </a:cubicBezTo>
                      <a:cubicBezTo>
                        <a:pt x="117" y="250"/>
                        <a:pt x="122" y="246"/>
                        <a:pt x="128" y="246"/>
                      </a:cubicBezTo>
                      <a:cubicBezTo>
                        <a:pt x="170" y="246"/>
                        <a:pt x="170" y="246"/>
                        <a:pt x="170" y="246"/>
                      </a:cubicBezTo>
                      <a:cubicBezTo>
                        <a:pt x="176" y="246"/>
                        <a:pt x="181" y="250"/>
                        <a:pt x="181" y="256"/>
                      </a:cubicBezTo>
                      <a:lnTo>
                        <a:pt x="181" y="267"/>
                      </a:lnTo>
                      <a:close/>
                      <a:moveTo>
                        <a:pt x="82" y="104"/>
                      </a:moveTo>
                      <a:cubicBezTo>
                        <a:pt x="96" y="92"/>
                        <a:pt x="113" y="83"/>
                        <a:pt x="130" y="79"/>
                      </a:cubicBezTo>
                      <a:cubicBezTo>
                        <a:pt x="136" y="77"/>
                        <a:pt x="139" y="71"/>
                        <a:pt x="138" y="66"/>
                      </a:cubicBezTo>
                      <a:cubicBezTo>
                        <a:pt x="137" y="60"/>
                        <a:pt x="131" y="57"/>
                        <a:pt x="125" y="58"/>
                      </a:cubicBezTo>
                      <a:cubicBezTo>
                        <a:pt x="104" y="63"/>
                        <a:pt x="84" y="74"/>
                        <a:pt x="68" y="88"/>
                      </a:cubicBezTo>
                      <a:cubicBezTo>
                        <a:pt x="64" y="92"/>
                        <a:pt x="63" y="99"/>
                        <a:pt x="67" y="103"/>
                      </a:cubicBezTo>
                      <a:cubicBezTo>
                        <a:pt x="69" y="106"/>
                        <a:pt x="72" y="107"/>
                        <a:pt x="75" y="107"/>
                      </a:cubicBezTo>
                      <a:cubicBezTo>
                        <a:pt x="78" y="107"/>
                        <a:pt x="80" y="106"/>
                        <a:pt x="82" y="10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347"/>
                <p:cNvSpPr>
                  <a:spLocks noEditPoints="1"/>
                </p:cNvSpPr>
                <p:nvPr/>
              </p:nvSpPr>
              <p:spPr bwMode="auto">
                <a:xfrm>
                  <a:off x="3451" y="1171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GB" sz="8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11" name="Rectangle 310"/>
              <p:cNvSpPr/>
              <p:nvPr/>
            </p:nvSpPr>
            <p:spPr>
              <a:xfrm>
                <a:off x="5887260" y="2831114"/>
                <a:ext cx="1333794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  <p:sp>
            <p:nvSpPr>
              <p:cNvPr id="312" name="Rectangle 311"/>
              <p:cNvSpPr/>
              <p:nvPr/>
            </p:nvSpPr>
            <p:spPr>
              <a:xfrm>
                <a:off x="5776832" y="4266732"/>
                <a:ext cx="1333794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  <p:sp>
            <p:nvSpPr>
              <p:cNvPr id="313" name="Rectangle 312"/>
              <p:cNvSpPr/>
              <p:nvPr/>
            </p:nvSpPr>
            <p:spPr>
              <a:xfrm>
                <a:off x="4660373" y="4867710"/>
                <a:ext cx="1333794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  <p:sp>
            <p:nvSpPr>
              <p:cNvPr id="314" name="Rectangle 313"/>
              <p:cNvSpPr/>
              <p:nvPr/>
            </p:nvSpPr>
            <p:spPr>
              <a:xfrm>
                <a:off x="3180980" y="4867710"/>
                <a:ext cx="1333794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  <p:sp>
            <p:nvSpPr>
              <p:cNvPr id="315" name="Rectangle 314"/>
              <p:cNvSpPr/>
              <p:nvPr/>
            </p:nvSpPr>
            <p:spPr>
              <a:xfrm>
                <a:off x="1949317" y="2825497"/>
                <a:ext cx="1333794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  <p:sp>
            <p:nvSpPr>
              <p:cNvPr id="316" name="Rectangle 315"/>
              <p:cNvSpPr/>
              <p:nvPr/>
            </p:nvSpPr>
            <p:spPr>
              <a:xfrm>
                <a:off x="3170405" y="1719071"/>
                <a:ext cx="1317037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  <p:sp>
            <p:nvSpPr>
              <p:cNvPr id="317" name="Rectangle 316"/>
              <p:cNvSpPr/>
              <p:nvPr/>
            </p:nvSpPr>
            <p:spPr>
              <a:xfrm>
                <a:off x="2037545" y="4334256"/>
                <a:ext cx="1333794" cy="3102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685800">
                  <a:defRPr/>
                </a:pPr>
                <a:r>
                  <a:rPr lang="en-US" sz="800" b="1">
                    <a:solidFill>
                      <a:prstClr val="black"/>
                    </a:solidFill>
                  </a:rPr>
                  <a:t>Lorem ipsum</a:t>
                </a:r>
              </a:p>
            </p:txBody>
          </p:sp>
        </p:grp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BCB1CF0E-2F1E-174B-8CB6-3DB9844F8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gressive wheel x8</a:t>
            </a:r>
          </a:p>
        </p:txBody>
      </p:sp>
      <p:sp>
        <p:nvSpPr>
          <p:cNvPr id="76" name="Star: 5 Points 75">
            <a:extLst>
              <a:ext uri="{FF2B5EF4-FFF2-40B4-BE49-F238E27FC236}">
                <a16:creationId xmlns:a16="http://schemas.microsoft.com/office/drawing/2014/main" id="{8AF52EF8-4328-458C-874D-1D7B5D29477E}"/>
              </a:ext>
            </a:extLst>
          </p:cNvPr>
          <p:cNvSpPr/>
          <p:nvPr/>
        </p:nvSpPr>
        <p:spPr bwMode="gray">
          <a:xfrm>
            <a:off x="9617345" y="208312"/>
            <a:ext cx="886579" cy="886579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CD00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750" b="1"/>
              <a:t>NEW</a:t>
            </a:r>
          </a:p>
        </p:txBody>
      </p:sp>
    </p:spTree>
    <p:extLst>
      <p:ext uri="{BB962C8B-B14F-4D97-AF65-F5344CB8AC3E}">
        <p14:creationId xmlns:p14="http://schemas.microsoft.com/office/powerpoint/2010/main" val="320770082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F52A8F-5168-4489-86F4-10C0DF21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 </a:t>
            </a:r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E6D675EC-425C-4157-A4F5-9ABBC5F6AF8F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52636" y="699021"/>
            <a:ext cx="11645581" cy="4670818"/>
          </a:xfrm>
          <a:custGeom>
            <a:avLst/>
            <a:gdLst>
              <a:gd name="connsiteX0" fmla="*/ 0 w 9183756"/>
              <a:gd name="connsiteY0" fmla="*/ 4174435 h 4174435"/>
              <a:gd name="connsiteX1" fmla="*/ 1860605 w 9183756"/>
              <a:gd name="connsiteY1" fmla="*/ 2878372 h 4174435"/>
              <a:gd name="connsiteX2" fmla="*/ 4683318 w 9183756"/>
              <a:gd name="connsiteY2" fmla="*/ 2504661 h 4174435"/>
              <a:gd name="connsiteX3" fmla="*/ 6933537 w 9183756"/>
              <a:gd name="connsiteY3" fmla="*/ 1590261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683318 w 9183756"/>
              <a:gd name="connsiteY2" fmla="*/ 2504661 h 4174435"/>
              <a:gd name="connsiteX3" fmla="*/ 6933537 w 9183756"/>
              <a:gd name="connsiteY3" fmla="*/ 1590261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721804 w 9183756"/>
              <a:gd name="connsiteY2" fmla="*/ 2544417 h 4174435"/>
              <a:gd name="connsiteX3" fmla="*/ 6933537 w 9183756"/>
              <a:gd name="connsiteY3" fmla="*/ 1590261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721804 w 9183756"/>
              <a:gd name="connsiteY2" fmla="*/ 2289975 h 4174435"/>
              <a:gd name="connsiteX3" fmla="*/ 6933537 w 9183756"/>
              <a:gd name="connsiteY3" fmla="*/ 1590261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721804 w 9183756"/>
              <a:gd name="connsiteY2" fmla="*/ 2194559 h 4174435"/>
              <a:gd name="connsiteX3" fmla="*/ 6933537 w 9183756"/>
              <a:gd name="connsiteY3" fmla="*/ 1590261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721804 w 9183756"/>
              <a:gd name="connsiteY2" fmla="*/ 2194559 h 4174435"/>
              <a:gd name="connsiteX3" fmla="*/ 6918143 w 9183756"/>
              <a:gd name="connsiteY3" fmla="*/ 1391479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721804 w 9183756"/>
              <a:gd name="connsiteY2" fmla="*/ 2194559 h 4174435"/>
              <a:gd name="connsiteX3" fmla="*/ 6979721 w 9183756"/>
              <a:gd name="connsiteY3" fmla="*/ 1447138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429309 w 9183756"/>
              <a:gd name="connsiteY2" fmla="*/ 2210461 h 4174435"/>
              <a:gd name="connsiteX3" fmla="*/ 6979721 w 9183756"/>
              <a:gd name="connsiteY3" fmla="*/ 1447138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429309 w 9183756"/>
              <a:gd name="connsiteY2" fmla="*/ 2210461 h 4174435"/>
              <a:gd name="connsiteX3" fmla="*/ 6979721 w 9183756"/>
              <a:gd name="connsiteY3" fmla="*/ 1447138 h 4174435"/>
              <a:gd name="connsiteX4" fmla="*/ 9183756 w 9183756"/>
              <a:gd name="connsiteY4" fmla="*/ 0 h 4174435"/>
              <a:gd name="connsiteX0" fmla="*/ 0 w 9183756"/>
              <a:gd name="connsiteY0" fmla="*/ 4174435 h 4174435"/>
              <a:gd name="connsiteX1" fmla="*/ 1976064 w 9183756"/>
              <a:gd name="connsiteY1" fmla="*/ 2997642 h 4174435"/>
              <a:gd name="connsiteX2" fmla="*/ 4429309 w 9183756"/>
              <a:gd name="connsiteY2" fmla="*/ 2274072 h 4174435"/>
              <a:gd name="connsiteX3" fmla="*/ 6979721 w 9183756"/>
              <a:gd name="connsiteY3" fmla="*/ 1447138 h 4174435"/>
              <a:gd name="connsiteX4" fmla="*/ 9183756 w 9183756"/>
              <a:gd name="connsiteY4" fmla="*/ 0 h 4174435"/>
              <a:gd name="connsiteX0" fmla="*/ 0 w 9314609"/>
              <a:gd name="connsiteY0" fmla="*/ 4516341 h 4516341"/>
              <a:gd name="connsiteX1" fmla="*/ 1976064 w 9314609"/>
              <a:gd name="connsiteY1" fmla="*/ 3339548 h 4516341"/>
              <a:gd name="connsiteX2" fmla="*/ 4429309 w 9314609"/>
              <a:gd name="connsiteY2" fmla="*/ 2615978 h 4516341"/>
              <a:gd name="connsiteX3" fmla="*/ 6979721 w 9314609"/>
              <a:gd name="connsiteY3" fmla="*/ 1789044 h 4516341"/>
              <a:gd name="connsiteX4" fmla="*/ 9314609 w 9314609"/>
              <a:gd name="connsiteY4" fmla="*/ 0 h 4516341"/>
              <a:gd name="connsiteX0" fmla="*/ 0 w 9314609"/>
              <a:gd name="connsiteY0" fmla="*/ 4516341 h 4516341"/>
              <a:gd name="connsiteX1" fmla="*/ 1976064 w 9314609"/>
              <a:gd name="connsiteY1" fmla="*/ 3339548 h 4516341"/>
              <a:gd name="connsiteX2" fmla="*/ 4429309 w 9314609"/>
              <a:gd name="connsiteY2" fmla="*/ 2615978 h 4516341"/>
              <a:gd name="connsiteX3" fmla="*/ 6979721 w 9314609"/>
              <a:gd name="connsiteY3" fmla="*/ 1789044 h 4516341"/>
              <a:gd name="connsiteX4" fmla="*/ 9314609 w 9314609"/>
              <a:gd name="connsiteY4" fmla="*/ 0 h 4516341"/>
              <a:gd name="connsiteX0" fmla="*/ 0 w 9314609"/>
              <a:gd name="connsiteY0" fmla="*/ 4516341 h 4516341"/>
              <a:gd name="connsiteX1" fmla="*/ 1976064 w 9314609"/>
              <a:gd name="connsiteY1" fmla="*/ 3339548 h 4516341"/>
              <a:gd name="connsiteX2" fmla="*/ 4429309 w 9314609"/>
              <a:gd name="connsiteY2" fmla="*/ 2615978 h 4516341"/>
              <a:gd name="connsiteX3" fmla="*/ 6979721 w 9314609"/>
              <a:gd name="connsiteY3" fmla="*/ 1789044 h 4516341"/>
              <a:gd name="connsiteX4" fmla="*/ 9314609 w 9314609"/>
              <a:gd name="connsiteY4" fmla="*/ 0 h 4516341"/>
              <a:gd name="connsiteX0" fmla="*/ 0 w 9253032"/>
              <a:gd name="connsiteY0" fmla="*/ 4572000 h 4572000"/>
              <a:gd name="connsiteX1" fmla="*/ 1976064 w 9253032"/>
              <a:gd name="connsiteY1" fmla="*/ 3395207 h 4572000"/>
              <a:gd name="connsiteX2" fmla="*/ 4429309 w 9253032"/>
              <a:gd name="connsiteY2" fmla="*/ 2671637 h 4572000"/>
              <a:gd name="connsiteX3" fmla="*/ 6979721 w 9253032"/>
              <a:gd name="connsiteY3" fmla="*/ 1844703 h 4572000"/>
              <a:gd name="connsiteX4" fmla="*/ 9253032 w 9253032"/>
              <a:gd name="connsiteY4" fmla="*/ 0 h 4572000"/>
              <a:gd name="connsiteX0" fmla="*/ 0 w 9283823"/>
              <a:gd name="connsiteY0" fmla="*/ 4572000 h 4572000"/>
              <a:gd name="connsiteX1" fmla="*/ 1976064 w 9283823"/>
              <a:gd name="connsiteY1" fmla="*/ 3395207 h 4572000"/>
              <a:gd name="connsiteX2" fmla="*/ 4429309 w 9283823"/>
              <a:gd name="connsiteY2" fmla="*/ 2671637 h 4572000"/>
              <a:gd name="connsiteX3" fmla="*/ 6979721 w 9283823"/>
              <a:gd name="connsiteY3" fmla="*/ 1844703 h 4572000"/>
              <a:gd name="connsiteX4" fmla="*/ 9283823 w 9283823"/>
              <a:gd name="connsiteY4" fmla="*/ 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83823" h="4572000">
                <a:moveTo>
                  <a:pt x="0" y="4572000"/>
                </a:moveTo>
                <a:cubicBezTo>
                  <a:pt x="540026" y="4063116"/>
                  <a:pt x="1237846" y="3711934"/>
                  <a:pt x="1976064" y="3395207"/>
                </a:cubicBezTo>
                <a:cubicBezTo>
                  <a:pt x="2714282" y="3078480"/>
                  <a:pt x="3556880" y="2786930"/>
                  <a:pt x="4429309" y="2671637"/>
                </a:cubicBezTo>
                <a:cubicBezTo>
                  <a:pt x="5301738" y="2556344"/>
                  <a:pt x="6229648" y="2262146"/>
                  <a:pt x="6979721" y="1844703"/>
                </a:cubicBezTo>
                <a:cubicBezTo>
                  <a:pt x="7729794" y="1427260"/>
                  <a:pt x="8572237" y="793143"/>
                  <a:pt x="9283823" y="0"/>
                </a:cubicBezTo>
              </a:path>
            </a:pathLst>
          </a:custGeom>
          <a:noFill/>
          <a:ln w="762000" cap="flat" cmpd="dbl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9194AF-2EDE-466B-9C88-7DFEB74E91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535122" y="1071944"/>
            <a:ext cx="23281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Implement One or Man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ECD474-D2C5-4E5F-B0DB-95193A98B3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68478" y="1768726"/>
            <a:ext cx="19325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600" b="1" err="1">
                <a:solidFill>
                  <a:prstClr val="black"/>
                </a:solidFill>
                <a:latin typeface="Calibri"/>
                <a:cs typeface="Verdana" panose="020B0604030504040204" pitchFamily="34" charset="0"/>
              </a:rPr>
              <a:t>Reflect</a:t>
            </a:r>
            <a:r>
              <a:rPr lang="fr-CA" sz="1600" b="1">
                <a:solidFill>
                  <a:prstClr val="black"/>
                </a:solidFill>
                <a:latin typeface="Calibri"/>
                <a:cs typeface="Verdana" panose="020B0604030504040204" pitchFamily="34" charset="0"/>
              </a:rPr>
              <a:t> on </a:t>
            </a:r>
            <a:r>
              <a:rPr lang="fr-CA" sz="1600" b="1" err="1">
                <a:solidFill>
                  <a:prstClr val="black"/>
                </a:solidFill>
                <a:latin typeface="Calibri"/>
                <a:cs typeface="Verdana" panose="020B0604030504040204" pitchFamily="34" charset="0"/>
              </a:rPr>
              <a:t>Available</a:t>
            </a:r>
            <a:r>
              <a:rPr lang="fr-CA" sz="1600" b="1">
                <a:solidFill>
                  <a:prstClr val="black"/>
                </a:solidFill>
                <a:latin typeface="Calibri"/>
                <a:cs typeface="Verdana" panose="020B0604030504040204" pitchFamily="34" charset="0"/>
              </a:rPr>
              <a:t> </a:t>
            </a:r>
            <a:r>
              <a:rPr lang="fr-CA" sz="1600" b="1" err="1">
                <a:solidFill>
                  <a:prstClr val="black"/>
                </a:solidFill>
                <a:latin typeface="Calibri"/>
                <a:cs typeface="Verdana" panose="020B0604030504040204" pitchFamily="34" charset="0"/>
              </a:rPr>
              <a:t>Resources</a:t>
            </a:r>
            <a:r>
              <a:rPr lang="fr-CA" sz="1600" b="1">
                <a:solidFill>
                  <a:prstClr val="black"/>
                </a:solidFill>
                <a:latin typeface="Calibri"/>
                <a:cs typeface="Verdana" panose="020B0604030504040204" pitchFamily="34" charset="0"/>
              </a:rPr>
              <a:t> </a:t>
            </a:r>
            <a:endParaRPr kumimoji="0" lang="fr-CA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723836-A1F8-4FB6-9EF9-975A33F2C58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65419" y="2212159"/>
            <a:ext cx="216011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Create Performance Goa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A0946B8-3128-463A-9235-B2A69BAF904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440590" y="2921291"/>
            <a:ext cx="19920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Consider Current Production Budget</a:t>
            </a:r>
          </a:p>
        </p:txBody>
      </p:sp>
      <p:sp>
        <p:nvSpPr>
          <p:cNvPr id="11" name="AutoShape 117">
            <a:extLst>
              <a:ext uri="{FF2B5EF4-FFF2-40B4-BE49-F238E27FC236}">
                <a16:creationId xmlns:a16="http://schemas.microsoft.com/office/drawing/2014/main" id="{2EF68954-D221-457B-9936-F7D455DFE6F3}"/>
              </a:ext>
            </a:extLst>
          </p:cNvPr>
          <p:cNvSpPr>
            <a:spLocks noChangeAspect="1" noChangeArrowheads="1" noTextEdit="1"/>
          </p:cNvSpPr>
          <p:nvPr>
            <p:custDataLst>
              <p:tags r:id="rId6"/>
            </p:custDataLst>
          </p:nvPr>
        </p:nvSpPr>
        <p:spPr bwMode="auto">
          <a:xfrm>
            <a:off x="1145544" y="734383"/>
            <a:ext cx="8633456" cy="442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12" name="Freeform 120">
            <a:extLst>
              <a:ext uri="{FF2B5EF4-FFF2-40B4-BE49-F238E27FC236}">
                <a16:creationId xmlns:a16="http://schemas.microsoft.com/office/drawing/2014/main" id="{7BCD2CF6-5479-4C60-BCEB-89E8BEE1AA5F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253744" y="2554504"/>
            <a:ext cx="868247" cy="1155329"/>
          </a:xfrm>
          <a:custGeom>
            <a:avLst/>
            <a:gdLst>
              <a:gd name="T0" fmla="*/ 0 w 496"/>
              <a:gd name="T1" fmla="*/ 656 h 660"/>
              <a:gd name="T2" fmla="*/ 0 w 496"/>
              <a:gd name="T3" fmla="*/ 0 h 660"/>
              <a:gd name="T4" fmla="*/ 170 w 496"/>
              <a:gd name="T5" fmla="*/ 0 h 660"/>
              <a:gd name="T6" fmla="*/ 496 w 496"/>
              <a:gd name="T7" fmla="*/ 325 h 660"/>
              <a:gd name="T8" fmla="*/ 180 w 496"/>
              <a:gd name="T9" fmla="*/ 656 h 660"/>
              <a:gd name="T10" fmla="*/ 0 w 496"/>
              <a:gd name="T11" fmla="*/ 660 h 6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6" h="660">
                <a:moveTo>
                  <a:pt x="0" y="656"/>
                </a:moveTo>
                <a:lnTo>
                  <a:pt x="0" y="0"/>
                </a:lnTo>
                <a:lnTo>
                  <a:pt x="170" y="0"/>
                </a:lnTo>
                <a:lnTo>
                  <a:pt x="496" y="325"/>
                </a:lnTo>
                <a:lnTo>
                  <a:pt x="180" y="656"/>
                </a:lnTo>
                <a:lnTo>
                  <a:pt x="0" y="66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6D46CE1-CE66-4CBC-B04F-3C446CB35EB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 rot="21002207">
            <a:off x="6347218" y="2459921"/>
            <a:ext cx="868248" cy="1155329"/>
            <a:chOff x="4953000" y="3322359"/>
            <a:chExt cx="787401" cy="1047750"/>
          </a:xfrm>
        </p:grpSpPr>
        <p:sp>
          <p:nvSpPr>
            <p:cNvPr id="14" name="Freeform 119">
              <a:extLst>
                <a:ext uri="{FF2B5EF4-FFF2-40B4-BE49-F238E27FC236}">
                  <a16:creationId xmlns:a16="http://schemas.microsoft.com/office/drawing/2014/main" id="{44C4B3F0-D1A6-4C20-84E8-E0FFCB250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3000" y="3322359"/>
              <a:ext cx="787400" cy="1047750"/>
            </a:xfrm>
            <a:custGeom>
              <a:avLst/>
              <a:gdLst>
                <a:gd name="T0" fmla="*/ 0 w 496"/>
                <a:gd name="T1" fmla="*/ 656 h 660"/>
                <a:gd name="T2" fmla="*/ 0 w 496"/>
                <a:gd name="T3" fmla="*/ 0 h 660"/>
                <a:gd name="T4" fmla="*/ 170 w 496"/>
                <a:gd name="T5" fmla="*/ 0 h 660"/>
                <a:gd name="T6" fmla="*/ 496 w 496"/>
                <a:gd name="T7" fmla="*/ 325 h 660"/>
                <a:gd name="T8" fmla="*/ 180 w 496"/>
                <a:gd name="T9" fmla="*/ 656 h 660"/>
                <a:gd name="T10" fmla="*/ 0 w 496"/>
                <a:gd name="T11" fmla="*/ 660 h 660"/>
                <a:gd name="T12" fmla="*/ 0 w 496"/>
                <a:gd name="T13" fmla="*/ 65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6" h="660">
                  <a:moveTo>
                    <a:pt x="0" y="656"/>
                  </a:moveTo>
                  <a:lnTo>
                    <a:pt x="0" y="0"/>
                  </a:lnTo>
                  <a:lnTo>
                    <a:pt x="170" y="0"/>
                  </a:lnTo>
                  <a:lnTo>
                    <a:pt x="496" y="325"/>
                  </a:lnTo>
                  <a:lnTo>
                    <a:pt x="180" y="656"/>
                  </a:lnTo>
                  <a:lnTo>
                    <a:pt x="0" y="660"/>
                  </a:lnTo>
                  <a:lnTo>
                    <a:pt x="0" y="656"/>
                  </a:lnTo>
                  <a:close/>
                </a:path>
              </a:pathLst>
            </a:custGeom>
            <a:solidFill>
              <a:srgbClr val="B1D5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15" name="Freeform 121">
              <a:extLst>
                <a:ext uri="{FF2B5EF4-FFF2-40B4-BE49-F238E27FC236}">
                  <a16:creationId xmlns:a16="http://schemas.microsoft.com/office/drawing/2014/main" id="{3A32FC83-3C41-402D-A2AD-DDABC77F9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4938" y="3330297"/>
              <a:ext cx="525463" cy="1033462"/>
            </a:xfrm>
            <a:custGeom>
              <a:avLst/>
              <a:gdLst>
                <a:gd name="T0" fmla="*/ 13 w 331"/>
                <a:gd name="T1" fmla="*/ 651 h 651"/>
                <a:gd name="T2" fmla="*/ 13 w 331"/>
                <a:gd name="T3" fmla="*/ 507 h 651"/>
                <a:gd name="T4" fmla="*/ 174 w 331"/>
                <a:gd name="T5" fmla="*/ 326 h 651"/>
                <a:gd name="T6" fmla="*/ 0 w 331"/>
                <a:gd name="T7" fmla="*/ 156 h 651"/>
                <a:gd name="T8" fmla="*/ 0 w 331"/>
                <a:gd name="T9" fmla="*/ 0 h 651"/>
                <a:gd name="T10" fmla="*/ 331 w 331"/>
                <a:gd name="T11" fmla="*/ 326 h 651"/>
                <a:gd name="T12" fmla="*/ 13 w 331"/>
                <a:gd name="T13" fmla="*/ 651 h 651"/>
                <a:gd name="T14" fmla="*/ 13 w 331"/>
                <a:gd name="T15" fmla="*/ 65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1" h="651">
                  <a:moveTo>
                    <a:pt x="13" y="651"/>
                  </a:moveTo>
                  <a:lnTo>
                    <a:pt x="13" y="507"/>
                  </a:lnTo>
                  <a:lnTo>
                    <a:pt x="174" y="326"/>
                  </a:lnTo>
                  <a:lnTo>
                    <a:pt x="0" y="156"/>
                  </a:lnTo>
                  <a:lnTo>
                    <a:pt x="0" y="0"/>
                  </a:lnTo>
                  <a:lnTo>
                    <a:pt x="331" y="326"/>
                  </a:lnTo>
                  <a:lnTo>
                    <a:pt x="13" y="651"/>
                  </a:lnTo>
                  <a:lnTo>
                    <a:pt x="13" y="65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</p:grpSp>
      <p:sp>
        <p:nvSpPr>
          <p:cNvPr id="16" name="Rectangle 122">
            <a:extLst>
              <a:ext uri="{FF2B5EF4-FFF2-40B4-BE49-F238E27FC236}">
                <a16:creationId xmlns:a16="http://schemas.microsoft.com/office/drawing/2014/main" id="{36130F71-7ADE-45BD-8F81-67AFAB4B265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833624" y="1730020"/>
            <a:ext cx="21800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2200" b="1" i="0" u="none" strike="noStrike" kern="1200" cap="none" spc="0" normalizeH="0" baseline="0" noProof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3.</a:t>
            </a: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17" name="Rectangle 123">
            <a:extLst>
              <a:ext uri="{FF2B5EF4-FFF2-40B4-BE49-F238E27FC236}">
                <a16:creationId xmlns:a16="http://schemas.microsoft.com/office/drawing/2014/main" id="{AD0A6879-2F53-45E6-91BD-4906244FEA9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317114" y="1051250"/>
            <a:ext cx="21800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2200" b="1" i="0" u="none" strike="noStrike" kern="1200" cap="none" spc="0" normalizeH="0" baseline="0" noProof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4.</a:t>
            </a: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18" name="Freeform 124">
            <a:extLst>
              <a:ext uri="{FF2B5EF4-FFF2-40B4-BE49-F238E27FC236}">
                <a16:creationId xmlns:a16="http://schemas.microsoft.com/office/drawing/2014/main" id="{E0D7A425-A48B-4EA1-8F82-C462A978B20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609673" y="3552129"/>
            <a:ext cx="1060802" cy="1053800"/>
          </a:xfrm>
          <a:custGeom>
            <a:avLst/>
            <a:gdLst>
              <a:gd name="T0" fmla="*/ 0 w 606"/>
              <a:gd name="T1" fmla="*/ 0 h 602"/>
              <a:gd name="T2" fmla="*/ 0 w 606"/>
              <a:gd name="T3" fmla="*/ 602 h 602"/>
              <a:gd name="T4" fmla="*/ 606 w 606"/>
              <a:gd name="T5" fmla="*/ 602 h 602"/>
              <a:gd name="T6" fmla="*/ 606 w 606"/>
              <a:gd name="T7" fmla="*/ 0 h 602"/>
              <a:gd name="T8" fmla="*/ 0 w 606"/>
              <a:gd name="T9" fmla="*/ 0 h 602"/>
              <a:gd name="T10" fmla="*/ 0 w 606"/>
              <a:gd name="T11" fmla="*/ 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6" h="602">
                <a:moveTo>
                  <a:pt x="0" y="0"/>
                </a:moveTo>
                <a:lnTo>
                  <a:pt x="0" y="602"/>
                </a:lnTo>
                <a:lnTo>
                  <a:pt x="606" y="602"/>
                </a:lnTo>
                <a:lnTo>
                  <a:pt x="606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AE2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19" name="Freeform 125">
            <a:extLst>
              <a:ext uri="{FF2B5EF4-FFF2-40B4-BE49-F238E27FC236}">
                <a16:creationId xmlns:a16="http://schemas.microsoft.com/office/drawing/2014/main" id="{2C6D883F-9675-4A1B-AD97-882EB211E3DF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609673" y="3552129"/>
            <a:ext cx="1060802" cy="1053800"/>
          </a:xfrm>
          <a:custGeom>
            <a:avLst/>
            <a:gdLst>
              <a:gd name="T0" fmla="*/ 0 w 606"/>
              <a:gd name="T1" fmla="*/ 0 h 602"/>
              <a:gd name="T2" fmla="*/ 0 w 606"/>
              <a:gd name="T3" fmla="*/ 602 h 602"/>
              <a:gd name="T4" fmla="*/ 606 w 606"/>
              <a:gd name="T5" fmla="*/ 602 h 602"/>
              <a:gd name="T6" fmla="*/ 606 w 606"/>
              <a:gd name="T7" fmla="*/ 0 h 602"/>
              <a:gd name="T8" fmla="*/ 0 w 606"/>
              <a:gd name="T9" fmla="*/ 0 h 602"/>
              <a:gd name="T10" fmla="*/ 0 w 606"/>
              <a:gd name="T11" fmla="*/ 0 h 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6" h="602">
                <a:moveTo>
                  <a:pt x="0" y="0"/>
                </a:moveTo>
                <a:lnTo>
                  <a:pt x="0" y="602"/>
                </a:lnTo>
                <a:lnTo>
                  <a:pt x="606" y="602"/>
                </a:lnTo>
                <a:lnTo>
                  <a:pt x="606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noFill/>
          <a:ln w="3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20" name="Rectangle 126">
            <a:extLst>
              <a:ext uri="{FF2B5EF4-FFF2-40B4-BE49-F238E27FC236}">
                <a16:creationId xmlns:a16="http://schemas.microsoft.com/office/drawing/2014/main" id="{752AC34B-E4AF-4EE5-BEC5-28CE785FD42E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46135" y="2939592"/>
            <a:ext cx="21800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2200" b="1" i="0" u="none" strike="noStrike" kern="1200" cap="none" spc="0" normalizeH="0" baseline="0" noProof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1.</a:t>
            </a: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21" name="Freeform 127">
            <a:extLst>
              <a:ext uri="{FF2B5EF4-FFF2-40B4-BE49-F238E27FC236}">
                <a16:creationId xmlns:a16="http://schemas.microsoft.com/office/drawing/2014/main" id="{22ADBE73-5A4E-4715-A583-63FA457EBB5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838056" y="2831083"/>
            <a:ext cx="827986" cy="1078307"/>
          </a:xfrm>
          <a:custGeom>
            <a:avLst/>
            <a:gdLst>
              <a:gd name="T0" fmla="*/ 0 w 473"/>
              <a:gd name="T1" fmla="*/ 0 h 616"/>
              <a:gd name="T2" fmla="*/ 0 w 473"/>
              <a:gd name="T3" fmla="*/ 616 h 616"/>
              <a:gd name="T4" fmla="*/ 473 w 473"/>
              <a:gd name="T5" fmla="*/ 616 h 616"/>
              <a:gd name="T6" fmla="*/ 473 w 473"/>
              <a:gd name="T7" fmla="*/ 0 h 616"/>
              <a:gd name="T8" fmla="*/ 0 w 473"/>
              <a:gd name="T9" fmla="*/ 0 h 616"/>
              <a:gd name="T10" fmla="*/ 0 w 473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3" h="616">
                <a:moveTo>
                  <a:pt x="0" y="0"/>
                </a:moveTo>
                <a:lnTo>
                  <a:pt x="0" y="616"/>
                </a:lnTo>
                <a:lnTo>
                  <a:pt x="473" y="616"/>
                </a:lnTo>
                <a:lnTo>
                  <a:pt x="473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AE2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22" name="Freeform 128">
            <a:extLst>
              <a:ext uri="{FF2B5EF4-FFF2-40B4-BE49-F238E27FC236}">
                <a16:creationId xmlns:a16="http://schemas.microsoft.com/office/drawing/2014/main" id="{4B7FEB50-6EF2-47D3-8CB5-37CDC84068EC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838056" y="2831083"/>
            <a:ext cx="827986" cy="1078307"/>
          </a:xfrm>
          <a:custGeom>
            <a:avLst/>
            <a:gdLst>
              <a:gd name="T0" fmla="*/ 0 w 473"/>
              <a:gd name="T1" fmla="*/ 0 h 616"/>
              <a:gd name="T2" fmla="*/ 0 w 473"/>
              <a:gd name="T3" fmla="*/ 616 h 616"/>
              <a:gd name="T4" fmla="*/ 473 w 473"/>
              <a:gd name="T5" fmla="*/ 616 h 616"/>
              <a:gd name="T6" fmla="*/ 473 w 473"/>
              <a:gd name="T7" fmla="*/ 0 h 616"/>
              <a:gd name="T8" fmla="*/ 0 w 473"/>
              <a:gd name="T9" fmla="*/ 0 h 616"/>
              <a:gd name="T10" fmla="*/ 0 w 473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3" h="616">
                <a:moveTo>
                  <a:pt x="0" y="0"/>
                </a:moveTo>
                <a:lnTo>
                  <a:pt x="0" y="616"/>
                </a:lnTo>
                <a:lnTo>
                  <a:pt x="473" y="616"/>
                </a:lnTo>
                <a:lnTo>
                  <a:pt x="473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noFill/>
          <a:ln w="3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23" name="Freeform 129">
            <a:extLst>
              <a:ext uri="{FF2B5EF4-FFF2-40B4-BE49-F238E27FC236}">
                <a16:creationId xmlns:a16="http://schemas.microsoft.com/office/drawing/2014/main" id="{BB4FECCF-212B-435E-8F30-B30AC59B3325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831054" y="2831083"/>
            <a:ext cx="295835" cy="1139574"/>
          </a:xfrm>
          <a:custGeom>
            <a:avLst/>
            <a:gdLst>
              <a:gd name="T0" fmla="*/ 0 w 169"/>
              <a:gd name="T1" fmla="*/ 0 h 651"/>
              <a:gd name="T2" fmla="*/ 165 w 169"/>
              <a:gd name="T3" fmla="*/ 33 h 651"/>
              <a:gd name="T4" fmla="*/ 169 w 169"/>
              <a:gd name="T5" fmla="*/ 651 h 651"/>
              <a:gd name="T6" fmla="*/ 0 w 169"/>
              <a:gd name="T7" fmla="*/ 612 h 651"/>
              <a:gd name="T8" fmla="*/ 0 w 169"/>
              <a:gd name="T9" fmla="*/ 4 h 651"/>
              <a:gd name="T10" fmla="*/ 0 w 169"/>
              <a:gd name="T11" fmla="*/ 0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9" h="651">
                <a:moveTo>
                  <a:pt x="0" y="0"/>
                </a:moveTo>
                <a:lnTo>
                  <a:pt x="165" y="33"/>
                </a:lnTo>
                <a:lnTo>
                  <a:pt x="169" y="651"/>
                </a:lnTo>
                <a:lnTo>
                  <a:pt x="0" y="612"/>
                </a:lnTo>
                <a:lnTo>
                  <a:pt x="0" y="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24" name="Freeform 130">
            <a:extLst>
              <a:ext uri="{FF2B5EF4-FFF2-40B4-BE49-F238E27FC236}">
                <a16:creationId xmlns:a16="http://schemas.microsoft.com/office/drawing/2014/main" id="{3B33CF3C-523E-4265-BC07-95B8EE1166C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831054" y="2831083"/>
            <a:ext cx="295835" cy="1139574"/>
          </a:xfrm>
          <a:custGeom>
            <a:avLst/>
            <a:gdLst>
              <a:gd name="T0" fmla="*/ 0 w 169"/>
              <a:gd name="T1" fmla="*/ 0 h 651"/>
              <a:gd name="T2" fmla="*/ 165 w 169"/>
              <a:gd name="T3" fmla="*/ 33 h 651"/>
              <a:gd name="T4" fmla="*/ 169 w 169"/>
              <a:gd name="T5" fmla="*/ 651 h 651"/>
              <a:gd name="T6" fmla="*/ 0 w 169"/>
              <a:gd name="T7" fmla="*/ 612 h 651"/>
              <a:gd name="T8" fmla="*/ 0 w 169"/>
              <a:gd name="T9" fmla="*/ 4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" h="651">
                <a:moveTo>
                  <a:pt x="0" y="0"/>
                </a:moveTo>
                <a:lnTo>
                  <a:pt x="165" y="33"/>
                </a:lnTo>
                <a:lnTo>
                  <a:pt x="169" y="651"/>
                </a:lnTo>
                <a:lnTo>
                  <a:pt x="0" y="612"/>
                </a:lnTo>
                <a:lnTo>
                  <a:pt x="0" y="4"/>
                </a:ln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25" name="Freeform 131">
            <a:extLst>
              <a:ext uri="{FF2B5EF4-FFF2-40B4-BE49-F238E27FC236}">
                <a16:creationId xmlns:a16="http://schemas.microsoft.com/office/drawing/2014/main" id="{E7733B74-3B50-4BCD-8CA9-296174C322BD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831054" y="2831083"/>
            <a:ext cx="295835" cy="1139574"/>
          </a:xfrm>
          <a:custGeom>
            <a:avLst/>
            <a:gdLst>
              <a:gd name="T0" fmla="*/ 0 w 169"/>
              <a:gd name="T1" fmla="*/ 0 h 651"/>
              <a:gd name="T2" fmla="*/ 165 w 169"/>
              <a:gd name="T3" fmla="*/ 33 h 651"/>
              <a:gd name="T4" fmla="*/ 169 w 169"/>
              <a:gd name="T5" fmla="*/ 651 h 651"/>
              <a:gd name="T6" fmla="*/ 0 w 169"/>
              <a:gd name="T7" fmla="*/ 612 h 651"/>
              <a:gd name="T8" fmla="*/ 0 w 169"/>
              <a:gd name="T9" fmla="*/ 4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" h="651">
                <a:moveTo>
                  <a:pt x="0" y="0"/>
                </a:moveTo>
                <a:lnTo>
                  <a:pt x="165" y="33"/>
                </a:lnTo>
                <a:lnTo>
                  <a:pt x="169" y="651"/>
                </a:lnTo>
                <a:lnTo>
                  <a:pt x="0" y="612"/>
                </a:lnTo>
                <a:lnTo>
                  <a:pt x="0" y="4"/>
                </a:lnTo>
              </a:path>
            </a:pathLst>
          </a:custGeom>
          <a:solidFill>
            <a:schemeClr val="accent1"/>
          </a:solidFill>
          <a:ln w="3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sp>
        <p:nvSpPr>
          <p:cNvPr id="26" name="Rectangle 132">
            <a:extLst>
              <a:ext uri="{FF2B5EF4-FFF2-40B4-BE49-F238E27FC236}">
                <a16:creationId xmlns:a16="http://schemas.microsoft.com/office/drawing/2014/main" id="{53CEEE82-62B3-4C77-800B-8757535CEE48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389683" y="2234163"/>
            <a:ext cx="21800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2200" b="1" i="0" u="none" strike="noStrike" kern="1200" cap="none" spc="0" normalizeH="0" baseline="0" noProof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2.</a:t>
            </a: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B1A7754-6EAE-4364-AD7F-38E8BFE1C8DC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8695339" y="1486410"/>
            <a:ext cx="1277865" cy="1522933"/>
            <a:chOff x="6638925" y="1969809"/>
            <a:chExt cx="1158876" cy="1381125"/>
          </a:xfrm>
        </p:grpSpPr>
        <p:sp>
          <p:nvSpPr>
            <p:cNvPr id="28" name="Freeform 133">
              <a:extLst>
                <a:ext uri="{FF2B5EF4-FFF2-40B4-BE49-F238E27FC236}">
                  <a16:creationId xmlns:a16="http://schemas.microsoft.com/office/drawing/2014/main" id="{A7588C35-8019-4CDB-B846-F384C7884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8813" y="2623859"/>
              <a:ext cx="111125" cy="169862"/>
            </a:xfrm>
            <a:custGeom>
              <a:avLst/>
              <a:gdLst>
                <a:gd name="T0" fmla="*/ 0 w 70"/>
                <a:gd name="T1" fmla="*/ 107 h 107"/>
                <a:gd name="T2" fmla="*/ 70 w 70"/>
                <a:gd name="T3" fmla="*/ 39 h 107"/>
                <a:gd name="T4" fmla="*/ 35 w 70"/>
                <a:gd name="T5" fmla="*/ 0 h 107"/>
                <a:gd name="T6" fmla="*/ 0 w 70"/>
                <a:gd name="T7" fmla="*/ 107 h 107"/>
                <a:gd name="T8" fmla="*/ 0 w 70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7">
                  <a:moveTo>
                    <a:pt x="0" y="107"/>
                  </a:moveTo>
                  <a:lnTo>
                    <a:pt x="70" y="39"/>
                  </a:lnTo>
                  <a:lnTo>
                    <a:pt x="35" y="0"/>
                  </a:lnTo>
                  <a:lnTo>
                    <a:pt x="0" y="107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98AA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29" name="Freeform 134">
              <a:extLst>
                <a:ext uri="{FF2B5EF4-FFF2-40B4-BE49-F238E27FC236}">
                  <a16:creationId xmlns:a16="http://schemas.microsoft.com/office/drawing/2014/main" id="{E228C174-738B-4A55-939E-AE32859ED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925" y="1971397"/>
              <a:ext cx="1158875" cy="593725"/>
            </a:xfrm>
            <a:custGeom>
              <a:avLst/>
              <a:gdLst>
                <a:gd name="T0" fmla="*/ 194 w 730"/>
                <a:gd name="T1" fmla="*/ 374 h 374"/>
                <a:gd name="T2" fmla="*/ 730 w 730"/>
                <a:gd name="T3" fmla="*/ 0 h 374"/>
                <a:gd name="T4" fmla="*/ 31 w 730"/>
                <a:gd name="T5" fmla="*/ 191 h 374"/>
                <a:gd name="T6" fmla="*/ 0 w 730"/>
                <a:gd name="T7" fmla="*/ 281 h 374"/>
                <a:gd name="T8" fmla="*/ 3 w 730"/>
                <a:gd name="T9" fmla="*/ 355 h 374"/>
                <a:gd name="T10" fmla="*/ 194 w 730"/>
                <a:gd name="T11" fmla="*/ 374 h 374"/>
                <a:gd name="T12" fmla="*/ 194 w 730"/>
                <a:gd name="T1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0" h="374">
                  <a:moveTo>
                    <a:pt x="194" y="374"/>
                  </a:moveTo>
                  <a:lnTo>
                    <a:pt x="730" y="0"/>
                  </a:lnTo>
                  <a:lnTo>
                    <a:pt x="31" y="191"/>
                  </a:lnTo>
                  <a:lnTo>
                    <a:pt x="0" y="281"/>
                  </a:lnTo>
                  <a:lnTo>
                    <a:pt x="3" y="355"/>
                  </a:lnTo>
                  <a:lnTo>
                    <a:pt x="194" y="374"/>
                  </a:lnTo>
                  <a:lnTo>
                    <a:pt x="194" y="374"/>
                  </a:lnTo>
                  <a:close/>
                </a:path>
              </a:pathLst>
            </a:custGeom>
            <a:solidFill>
              <a:srgbClr val="CAE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0" name="Freeform 135">
              <a:extLst>
                <a:ext uri="{FF2B5EF4-FFF2-40B4-BE49-F238E27FC236}">
                  <a16:creationId xmlns:a16="http://schemas.microsoft.com/office/drawing/2014/main" id="{8D34F3E4-48FE-4225-8800-FC1B8CF46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4850" y="1969809"/>
              <a:ext cx="742950" cy="982662"/>
            </a:xfrm>
            <a:custGeom>
              <a:avLst/>
              <a:gdLst>
                <a:gd name="T0" fmla="*/ 468 w 468"/>
                <a:gd name="T1" fmla="*/ 0 h 619"/>
                <a:gd name="T2" fmla="*/ 313 w 468"/>
                <a:gd name="T3" fmla="*/ 580 h 619"/>
                <a:gd name="T4" fmla="*/ 228 w 468"/>
                <a:gd name="T5" fmla="*/ 619 h 619"/>
                <a:gd name="T6" fmla="*/ 100 w 468"/>
                <a:gd name="T7" fmla="*/ 604 h 619"/>
                <a:gd name="T8" fmla="*/ 0 w 468"/>
                <a:gd name="T9" fmla="*/ 428 h 619"/>
                <a:gd name="T10" fmla="*/ 468 w 468"/>
                <a:gd name="T11" fmla="*/ 0 h 619"/>
                <a:gd name="T12" fmla="*/ 468 w 468"/>
                <a:gd name="T13" fmla="*/ 0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619">
                  <a:moveTo>
                    <a:pt x="468" y="0"/>
                  </a:moveTo>
                  <a:lnTo>
                    <a:pt x="313" y="580"/>
                  </a:lnTo>
                  <a:lnTo>
                    <a:pt x="228" y="619"/>
                  </a:lnTo>
                  <a:lnTo>
                    <a:pt x="100" y="604"/>
                  </a:lnTo>
                  <a:lnTo>
                    <a:pt x="0" y="428"/>
                  </a:lnTo>
                  <a:lnTo>
                    <a:pt x="468" y="0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CAE2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1" name="Freeform 136">
              <a:extLst>
                <a:ext uri="{FF2B5EF4-FFF2-40B4-BE49-F238E27FC236}">
                  <a16:creationId xmlns:a16="http://schemas.microsoft.com/office/drawing/2014/main" id="{43CB3395-BE95-451C-A5E4-7B2A559F7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925" y="1990447"/>
              <a:ext cx="1082675" cy="425450"/>
            </a:xfrm>
            <a:custGeom>
              <a:avLst/>
              <a:gdLst>
                <a:gd name="T0" fmla="*/ 682 w 682"/>
                <a:gd name="T1" fmla="*/ 0 h 268"/>
                <a:gd name="T2" fmla="*/ 0 w 682"/>
                <a:gd name="T3" fmla="*/ 268 h 268"/>
                <a:gd name="T4" fmla="*/ 31 w 682"/>
                <a:gd name="T5" fmla="*/ 179 h 268"/>
                <a:gd name="T6" fmla="*/ 682 w 682"/>
                <a:gd name="T7" fmla="*/ 0 h 268"/>
                <a:gd name="T8" fmla="*/ 682 w 682"/>
                <a:gd name="T9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2" h="268">
                  <a:moveTo>
                    <a:pt x="682" y="0"/>
                  </a:moveTo>
                  <a:lnTo>
                    <a:pt x="0" y="268"/>
                  </a:lnTo>
                  <a:lnTo>
                    <a:pt x="31" y="179"/>
                  </a:lnTo>
                  <a:lnTo>
                    <a:pt x="682" y="0"/>
                  </a:lnTo>
                  <a:lnTo>
                    <a:pt x="6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2" name="Freeform 137">
              <a:extLst>
                <a:ext uri="{FF2B5EF4-FFF2-40B4-BE49-F238E27FC236}">
                  <a16:creationId xmlns:a16="http://schemas.microsoft.com/office/drawing/2014/main" id="{068F4CD2-053F-4913-AD39-AA48C0F43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900" y="1977747"/>
              <a:ext cx="842963" cy="812800"/>
            </a:xfrm>
            <a:custGeom>
              <a:avLst/>
              <a:gdLst>
                <a:gd name="T0" fmla="*/ 68 w 531"/>
                <a:gd name="T1" fmla="*/ 425 h 512"/>
                <a:gd name="T2" fmla="*/ 39 w 531"/>
                <a:gd name="T3" fmla="*/ 512 h 512"/>
                <a:gd name="T4" fmla="*/ 0 w 531"/>
                <a:gd name="T5" fmla="*/ 370 h 512"/>
                <a:gd name="T6" fmla="*/ 531 w 531"/>
                <a:gd name="T7" fmla="*/ 0 h 512"/>
                <a:gd name="T8" fmla="*/ 68 w 531"/>
                <a:gd name="T9" fmla="*/ 425 h 512"/>
                <a:gd name="T10" fmla="*/ 68 w 531"/>
                <a:gd name="T11" fmla="*/ 42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1" h="512">
                  <a:moveTo>
                    <a:pt x="68" y="425"/>
                  </a:moveTo>
                  <a:lnTo>
                    <a:pt x="39" y="512"/>
                  </a:lnTo>
                  <a:lnTo>
                    <a:pt x="0" y="370"/>
                  </a:lnTo>
                  <a:lnTo>
                    <a:pt x="531" y="0"/>
                  </a:lnTo>
                  <a:lnTo>
                    <a:pt x="68" y="425"/>
                  </a:lnTo>
                  <a:lnTo>
                    <a:pt x="68" y="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3" name="Freeform 138">
              <a:extLst>
                <a:ext uri="{FF2B5EF4-FFF2-40B4-BE49-F238E27FC236}">
                  <a16:creationId xmlns:a16="http://schemas.microsoft.com/office/drawing/2014/main" id="{1A6D8EAC-1DE5-43A9-9261-AAA2B881A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1563" y="1969809"/>
              <a:ext cx="376238" cy="979487"/>
            </a:xfrm>
            <a:custGeom>
              <a:avLst/>
              <a:gdLst>
                <a:gd name="T0" fmla="*/ 0 w 237"/>
                <a:gd name="T1" fmla="*/ 617 h 617"/>
                <a:gd name="T2" fmla="*/ 233 w 237"/>
                <a:gd name="T3" fmla="*/ 3 h 617"/>
                <a:gd name="T4" fmla="*/ 237 w 237"/>
                <a:gd name="T5" fmla="*/ 0 h 617"/>
                <a:gd name="T6" fmla="*/ 82 w 237"/>
                <a:gd name="T7" fmla="*/ 580 h 617"/>
                <a:gd name="T8" fmla="*/ 0 w 237"/>
                <a:gd name="T9" fmla="*/ 617 h 617"/>
                <a:gd name="T10" fmla="*/ 0 w 237"/>
                <a:gd name="T11" fmla="*/ 61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" h="617">
                  <a:moveTo>
                    <a:pt x="0" y="617"/>
                  </a:moveTo>
                  <a:lnTo>
                    <a:pt x="233" y="3"/>
                  </a:lnTo>
                  <a:lnTo>
                    <a:pt x="237" y="0"/>
                  </a:lnTo>
                  <a:lnTo>
                    <a:pt x="82" y="580"/>
                  </a:lnTo>
                  <a:lnTo>
                    <a:pt x="0" y="617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4" name="Freeform 147">
              <a:extLst>
                <a:ext uri="{FF2B5EF4-FFF2-40B4-BE49-F238E27FC236}">
                  <a16:creationId xmlns:a16="http://schemas.microsoft.com/office/drawing/2014/main" id="{927E4C5C-26B7-4A7D-9C8C-E3CB18EF4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2963584"/>
              <a:ext cx="139700" cy="358775"/>
            </a:xfrm>
            <a:custGeom>
              <a:avLst/>
              <a:gdLst>
                <a:gd name="T0" fmla="*/ 0 w 48"/>
                <a:gd name="T1" fmla="*/ 122 h 122"/>
                <a:gd name="T2" fmla="*/ 48 w 48"/>
                <a:gd name="T3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122">
                  <a:moveTo>
                    <a:pt x="0" y="122"/>
                  </a:moveTo>
                  <a:cubicBezTo>
                    <a:pt x="0" y="122"/>
                    <a:pt x="10" y="35"/>
                    <a:pt x="4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5" name="Freeform 148">
              <a:extLst>
                <a:ext uri="{FF2B5EF4-FFF2-40B4-BE49-F238E27FC236}">
                  <a16:creationId xmlns:a16="http://schemas.microsoft.com/office/drawing/2014/main" id="{219F4FDD-5ABC-44BC-9236-81A204239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925" y="2935009"/>
              <a:ext cx="149225" cy="415925"/>
            </a:xfrm>
            <a:custGeom>
              <a:avLst/>
              <a:gdLst>
                <a:gd name="T0" fmla="*/ 2 w 51"/>
                <a:gd name="T1" fmla="*/ 123 h 142"/>
                <a:gd name="T2" fmla="*/ 6 w 51"/>
                <a:gd name="T3" fmla="*/ 107 h 142"/>
                <a:gd name="T4" fmla="*/ 15 w 51"/>
                <a:gd name="T5" fmla="*/ 76 h 142"/>
                <a:gd name="T6" fmla="*/ 47 w 51"/>
                <a:gd name="T7" fmla="*/ 20 h 142"/>
                <a:gd name="T8" fmla="*/ 50 w 51"/>
                <a:gd name="T9" fmla="*/ 0 h 142"/>
                <a:gd name="T10" fmla="*/ 0 w 51"/>
                <a:gd name="T11" fmla="*/ 142 h 142"/>
                <a:gd name="T12" fmla="*/ 2 w 51"/>
                <a:gd name="T13" fmla="*/ 123 h 142"/>
                <a:gd name="T14" fmla="*/ 2 w 51"/>
                <a:gd name="T15" fmla="*/ 12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142">
                  <a:moveTo>
                    <a:pt x="2" y="123"/>
                  </a:moveTo>
                  <a:cubicBezTo>
                    <a:pt x="1" y="135"/>
                    <a:pt x="5" y="109"/>
                    <a:pt x="6" y="107"/>
                  </a:cubicBezTo>
                  <a:cubicBezTo>
                    <a:pt x="8" y="96"/>
                    <a:pt x="11" y="86"/>
                    <a:pt x="15" y="76"/>
                  </a:cubicBezTo>
                  <a:cubicBezTo>
                    <a:pt x="22" y="56"/>
                    <a:pt x="32" y="35"/>
                    <a:pt x="47" y="20"/>
                  </a:cubicBezTo>
                  <a:cubicBezTo>
                    <a:pt x="51" y="16"/>
                    <a:pt x="47" y="4"/>
                    <a:pt x="50" y="0"/>
                  </a:cubicBezTo>
                  <a:cubicBezTo>
                    <a:pt x="14" y="35"/>
                    <a:pt x="5" y="93"/>
                    <a:pt x="0" y="142"/>
                  </a:cubicBezTo>
                  <a:cubicBezTo>
                    <a:pt x="0" y="137"/>
                    <a:pt x="2" y="129"/>
                    <a:pt x="2" y="123"/>
                  </a:cubicBezTo>
                  <a:cubicBezTo>
                    <a:pt x="2" y="123"/>
                    <a:pt x="2" y="123"/>
                    <a:pt x="2" y="1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6" name="Freeform 149">
              <a:extLst>
                <a:ext uri="{FF2B5EF4-FFF2-40B4-BE49-F238E27FC236}">
                  <a16:creationId xmlns:a16="http://schemas.microsoft.com/office/drawing/2014/main" id="{A0E68430-C869-4BCC-850B-72863AEFB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925" y="2935009"/>
              <a:ext cx="149225" cy="415925"/>
            </a:xfrm>
            <a:custGeom>
              <a:avLst/>
              <a:gdLst>
                <a:gd name="T0" fmla="*/ 2 w 51"/>
                <a:gd name="T1" fmla="*/ 123 h 142"/>
                <a:gd name="T2" fmla="*/ 6 w 51"/>
                <a:gd name="T3" fmla="*/ 107 h 142"/>
                <a:gd name="T4" fmla="*/ 15 w 51"/>
                <a:gd name="T5" fmla="*/ 76 h 142"/>
                <a:gd name="T6" fmla="*/ 47 w 51"/>
                <a:gd name="T7" fmla="*/ 20 h 142"/>
                <a:gd name="T8" fmla="*/ 50 w 51"/>
                <a:gd name="T9" fmla="*/ 0 h 142"/>
                <a:gd name="T10" fmla="*/ 0 w 51"/>
                <a:gd name="T11" fmla="*/ 142 h 142"/>
                <a:gd name="T12" fmla="*/ 2 w 51"/>
                <a:gd name="T13" fmla="*/ 123 h 142"/>
                <a:gd name="T14" fmla="*/ 2 w 51"/>
                <a:gd name="T15" fmla="*/ 12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142">
                  <a:moveTo>
                    <a:pt x="2" y="123"/>
                  </a:moveTo>
                  <a:cubicBezTo>
                    <a:pt x="1" y="135"/>
                    <a:pt x="5" y="109"/>
                    <a:pt x="6" y="107"/>
                  </a:cubicBezTo>
                  <a:cubicBezTo>
                    <a:pt x="8" y="96"/>
                    <a:pt x="11" y="86"/>
                    <a:pt x="15" y="76"/>
                  </a:cubicBezTo>
                  <a:cubicBezTo>
                    <a:pt x="22" y="56"/>
                    <a:pt x="32" y="35"/>
                    <a:pt x="47" y="20"/>
                  </a:cubicBezTo>
                  <a:cubicBezTo>
                    <a:pt x="51" y="16"/>
                    <a:pt x="47" y="4"/>
                    <a:pt x="50" y="0"/>
                  </a:cubicBezTo>
                  <a:cubicBezTo>
                    <a:pt x="14" y="35"/>
                    <a:pt x="5" y="93"/>
                    <a:pt x="0" y="142"/>
                  </a:cubicBezTo>
                  <a:cubicBezTo>
                    <a:pt x="0" y="137"/>
                    <a:pt x="2" y="129"/>
                    <a:pt x="2" y="123"/>
                  </a:cubicBezTo>
                  <a:cubicBezTo>
                    <a:pt x="2" y="123"/>
                    <a:pt x="2" y="123"/>
                    <a:pt x="2" y="123"/>
                  </a:cubicBezTo>
                  <a:close/>
                </a:path>
              </a:pathLst>
            </a:custGeom>
            <a:solidFill>
              <a:srgbClr val="99CA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7" name="Freeform 150">
              <a:extLst>
                <a:ext uri="{FF2B5EF4-FFF2-40B4-BE49-F238E27FC236}">
                  <a16:creationId xmlns:a16="http://schemas.microsoft.com/office/drawing/2014/main" id="{1F66235D-2370-481D-8CA9-8BF923074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8625" y="2931834"/>
              <a:ext cx="141288" cy="357187"/>
            </a:xfrm>
            <a:custGeom>
              <a:avLst/>
              <a:gdLst>
                <a:gd name="T0" fmla="*/ 0 w 48"/>
                <a:gd name="T1" fmla="*/ 122 h 122"/>
                <a:gd name="T2" fmla="*/ 48 w 48"/>
                <a:gd name="T3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122">
                  <a:moveTo>
                    <a:pt x="0" y="122"/>
                  </a:moveTo>
                  <a:cubicBezTo>
                    <a:pt x="0" y="122"/>
                    <a:pt x="10" y="35"/>
                    <a:pt x="4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8" name="Freeform 151">
              <a:extLst>
                <a:ext uri="{FF2B5EF4-FFF2-40B4-BE49-F238E27FC236}">
                  <a16:creationId xmlns:a16="http://schemas.microsoft.com/office/drawing/2014/main" id="{7A97B14E-1CC2-4ACB-98DA-593FFDFC0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7038" y="2901672"/>
              <a:ext cx="152400" cy="417512"/>
            </a:xfrm>
            <a:custGeom>
              <a:avLst/>
              <a:gdLst>
                <a:gd name="T0" fmla="*/ 3 w 52"/>
                <a:gd name="T1" fmla="*/ 123 h 142"/>
                <a:gd name="T2" fmla="*/ 6 w 52"/>
                <a:gd name="T3" fmla="*/ 107 h 142"/>
                <a:gd name="T4" fmla="*/ 15 w 52"/>
                <a:gd name="T5" fmla="*/ 76 h 142"/>
                <a:gd name="T6" fmla="*/ 48 w 52"/>
                <a:gd name="T7" fmla="*/ 20 h 142"/>
                <a:gd name="T8" fmla="*/ 51 w 52"/>
                <a:gd name="T9" fmla="*/ 0 h 142"/>
                <a:gd name="T10" fmla="*/ 0 w 52"/>
                <a:gd name="T11" fmla="*/ 142 h 142"/>
                <a:gd name="T12" fmla="*/ 3 w 52"/>
                <a:gd name="T13" fmla="*/ 123 h 142"/>
                <a:gd name="T14" fmla="*/ 3 w 52"/>
                <a:gd name="T15" fmla="*/ 12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42">
                  <a:moveTo>
                    <a:pt x="3" y="123"/>
                  </a:moveTo>
                  <a:cubicBezTo>
                    <a:pt x="1" y="135"/>
                    <a:pt x="6" y="110"/>
                    <a:pt x="6" y="107"/>
                  </a:cubicBezTo>
                  <a:cubicBezTo>
                    <a:pt x="9" y="97"/>
                    <a:pt x="12" y="87"/>
                    <a:pt x="15" y="76"/>
                  </a:cubicBezTo>
                  <a:cubicBezTo>
                    <a:pt x="22" y="56"/>
                    <a:pt x="32" y="36"/>
                    <a:pt x="48" y="20"/>
                  </a:cubicBezTo>
                  <a:cubicBezTo>
                    <a:pt x="52" y="16"/>
                    <a:pt x="47" y="4"/>
                    <a:pt x="51" y="0"/>
                  </a:cubicBezTo>
                  <a:cubicBezTo>
                    <a:pt x="14" y="36"/>
                    <a:pt x="5" y="94"/>
                    <a:pt x="0" y="142"/>
                  </a:cubicBezTo>
                  <a:cubicBezTo>
                    <a:pt x="0" y="137"/>
                    <a:pt x="2" y="129"/>
                    <a:pt x="3" y="123"/>
                  </a:cubicBezTo>
                  <a:cubicBezTo>
                    <a:pt x="3" y="123"/>
                    <a:pt x="3" y="123"/>
                    <a:pt x="3" y="1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39" name="Freeform 152">
              <a:extLst>
                <a:ext uri="{FF2B5EF4-FFF2-40B4-BE49-F238E27FC236}">
                  <a16:creationId xmlns:a16="http://schemas.microsoft.com/office/drawing/2014/main" id="{6BD5FD34-12BF-4F0C-8CE4-B5D39CF44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7038" y="2901672"/>
              <a:ext cx="152400" cy="417512"/>
            </a:xfrm>
            <a:custGeom>
              <a:avLst/>
              <a:gdLst>
                <a:gd name="T0" fmla="*/ 3 w 52"/>
                <a:gd name="T1" fmla="*/ 123 h 142"/>
                <a:gd name="T2" fmla="*/ 6 w 52"/>
                <a:gd name="T3" fmla="*/ 107 h 142"/>
                <a:gd name="T4" fmla="*/ 15 w 52"/>
                <a:gd name="T5" fmla="*/ 76 h 142"/>
                <a:gd name="T6" fmla="*/ 48 w 52"/>
                <a:gd name="T7" fmla="*/ 20 h 142"/>
                <a:gd name="T8" fmla="*/ 51 w 52"/>
                <a:gd name="T9" fmla="*/ 0 h 142"/>
                <a:gd name="T10" fmla="*/ 0 w 52"/>
                <a:gd name="T11" fmla="*/ 142 h 142"/>
                <a:gd name="T12" fmla="*/ 3 w 52"/>
                <a:gd name="T13" fmla="*/ 123 h 142"/>
                <a:gd name="T14" fmla="*/ 3 w 52"/>
                <a:gd name="T15" fmla="*/ 12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42">
                  <a:moveTo>
                    <a:pt x="3" y="123"/>
                  </a:moveTo>
                  <a:cubicBezTo>
                    <a:pt x="1" y="135"/>
                    <a:pt x="6" y="110"/>
                    <a:pt x="6" y="107"/>
                  </a:cubicBezTo>
                  <a:cubicBezTo>
                    <a:pt x="9" y="97"/>
                    <a:pt x="12" y="87"/>
                    <a:pt x="15" y="76"/>
                  </a:cubicBezTo>
                  <a:cubicBezTo>
                    <a:pt x="22" y="56"/>
                    <a:pt x="32" y="36"/>
                    <a:pt x="48" y="20"/>
                  </a:cubicBezTo>
                  <a:cubicBezTo>
                    <a:pt x="52" y="16"/>
                    <a:pt x="47" y="4"/>
                    <a:pt x="51" y="0"/>
                  </a:cubicBezTo>
                  <a:cubicBezTo>
                    <a:pt x="14" y="36"/>
                    <a:pt x="5" y="94"/>
                    <a:pt x="0" y="142"/>
                  </a:cubicBezTo>
                  <a:cubicBezTo>
                    <a:pt x="0" y="137"/>
                    <a:pt x="2" y="129"/>
                    <a:pt x="3" y="123"/>
                  </a:cubicBezTo>
                  <a:cubicBezTo>
                    <a:pt x="3" y="123"/>
                    <a:pt x="3" y="123"/>
                    <a:pt x="3" y="123"/>
                  </a:cubicBezTo>
                  <a:close/>
                </a:path>
              </a:pathLst>
            </a:custGeom>
            <a:solidFill>
              <a:srgbClr val="99CA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40" name="Freeform 153">
              <a:extLst>
                <a:ext uri="{FF2B5EF4-FFF2-40B4-BE49-F238E27FC236}">
                  <a16:creationId xmlns:a16="http://schemas.microsoft.com/office/drawing/2014/main" id="{426A75B7-EBC1-4D0A-8E6B-B3AD121AF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2958822"/>
              <a:ext cx="106363" cy="225425"/>
            </a:xfrm>
            <a:custGeom>
              <a:avLst/>
              <a:gdLst>
                <a:gd name="T0" fmla="*/ 0 w 36"/>
                <a:gd name="T1" fmla="*/ 77 h 77"/>
                <a:gd name="T2" fmla="*/ 36 w 36"/>
                <a:gd name="T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6" h="77">
                  <a:moveTo>
                    <a:pt x="0" y="77"/>
                  </a:moveTo>
                  <a:cubicBezTo>
                    <a:pt x="0" y="77"/>
                    <a:pt x="8" y="23"/>
                    <a:pt x="3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41" name="Freeform 154">
              <a:extLst>
                <a:ext uri="{FF2B5EF4-FFF2-40B4-BE49-F238E27FC236}">
                  <a16:creationId xmlns:a16="http://schemas.microsoft.com/office/drawing/2014/main" id="{4AAB9682-4C5C-4BBB-A554-6EE0D022E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1188" y="2928659"/>
              <a:ext cx="114300" cy="290512"/>
            </a:xfrm>
            <a:custGeom>
              <a:avLst/>
              <a:gdLst>
                <a:gd name="T0" fmla="*/ 0 w 39"/>
                <a:gd name="T1" fmla="*/ 96 h 99"/>
                <a:gd name="T2" fmla="*/ 35 w 39"/>
                <a:gd name="T3" fmla="*/ 20 h 99"/>
                <a:gd name="T4" fmla="*/ 38 w 39"/>
                <a:gd name="T5" fmla="*/ 0 h 99"/>
                <a:gd name="T6" fmla="*/ 2 w 39"/>
                <a:gd name="T7" fmla="*/ 79 h 99"/>
                <a:gd name="T8" fmla="*/ 0 w 39"/>
                <a:gd name="T9" fmla="*/ 92 h 99"/>
                <a:gd name="T10" fmla="*/ 0 w 39"/>
                <a:gd name="T11" fmla="*/ 96 h 99"/>
                <a:gd name="T12" fmla="*/ 0 w 39"/>
                <a:gd name="T13" fmla="*/ 9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99">
                  <a:moveTo>
                    <a:pt x="0" y="96"/>
                  </a:moveTo>
                  <a:cubicBezTo>
                    <a:pt x="4" y="69"/>
                    <a:pt x="15" y="38"/>
                    <a:pt x="35" y="20"/>
                  </a:cubicBezTo>
                  <a:cubicBezTo>
                    <a:pt x="39" y="17"/>
                    <a:pt x="34" y="4"/>
                    <a:pt x="38" y="0"/>
                  </a:cubicBezTo>
                  <a:cubicBezTo>
                    <a:pt x="16" y="19"/>
                    <a:pt x="7" y="51"/>
                    <a:pt x="2" y="79"/>
                  </a:cubicBezTo>
                  <a:cubicBezTo>
                    <a:pt x="2" y="83"/>
                    <a:pt x="1" y="88"/>
                    <a:pt x="0" y="92"/>
                  </a:cubicBezTo>
                  <a:cubicBezTo>
                    <a:pt x="0" y="93"/>
                    <a:pt x="0" y="99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  <p:sp>
          <p:nvSpPr>
            <p:cNvPr id="42" name="Freeform 155">
              <a:extLst>
                <a:ext uri="{FF2B5EF4-FFF2-40B4-BE49-F238E27FC236}">
                  <a16:creationId xmlns:a16="http://schemas.microsoft.com/office/drawing/2014/main" id="{BA986083-1E37-4772-9FDD-D7AC48283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1188" y="2928659"/>
              <a:ext cx="114300" cy="290512"/>
            </a:xfrm>
            <a:custGeom>
              <a:avLst/>
              <a:gdLst>
                <a:gd name="T0" fmla="*/ 0 w 39"/>
                <a:gd name="T1" fmla="*/ 96 h 99"/>
                <a:gd name="T2" fmla="*/ 35 w 39"/>
                <a:gd name="T3" fmla="*/ 20 h 99"/>
                <a:gd name="T4" fmla="*/ 38 w 39"/>
                <a:gd name="T5" fmla="*/ 0 h 99"/>
                <a:gd name="T6" fmla="*/ 2 w 39"/>
                <a:gd name="T7" fmla="*/ 79 h 99"/>
                <a:gd name="T8" fmla="*/ 0 w 39"/>
                <a:gd name="T9" fmla="*/ 92 h 99"/>
                <a:gd name="T10" fmla="*/ 0 w 39"/>
                <a:gd name="T11" fmla="*/ 96 h 99"/>
                <a:gd name="T12" fmla="*/ 0 w 39"/>
                <a:gd name="T13" fmla="*/ 9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99">
                  <a:moveTo>
                    <a:pt x="0" y="96"/>
                  </a:moveTo>
                  <a:cubicBezTo>
                    <a:pt x="4" y="69"/>
                    <a:pt x="15" y="38"/>
                    <a:pt x="35" y="20"/>
                  </a:cubicBezTo>
                  <a:cubicBezTo>
                    <a:pt x="39" y="17"/>
                    <a:pt x="34" y="4"/>
                    <a:pt x="38" y="0"/>
                  </a:cubicBezTo>
                  <a:cubicBezTo>
                    <a:pt x="16" y="19"/>
                    <a:pt x="7" y="51"/>
                    <a:pt x="2" y="79"/>
                  </a:cubicBezTo>
                  <a:cubicBezTo>
                    <a:pt x="2" y="83"/>
                    <a:pt x="1" y="88"/>
                    <a:pt x="0" y="92"/>
                  </a:cubicBezTo>
                  <a:cubicBezTo>
                    <a:pt x="0" y="93"/>
                    <a:pt x="0" y="99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lose/>
                </a:path>
              </a:pathLst>
            </a:custGeom>
            <a:solidFill>
              <a:srgbClr val="99CA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A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DC13E024-06F5-4919-9DB6-4AD09DBA2E3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4076342" y="3941526"/>
            <a:ext cx="2422252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400" b="1">
                <a:solidFill>
                  <a:srgbClr val="26890D"/>
                </a:solidFill>
                <a:latin typeface="Calibri"/>
                <a:cs typeface="Verdana" panose="020B0604030504040204" pitchFamily="34" charset="0"/>
              </a:rPr>
              <a:t>Are T</a:t>
            </a:r>
            <a:r>
              <a:rPr kumimoji="0" lang="fr-CA" sz="1400" b="1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hey Achievable?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profit and low production cost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/>
              </a:rPr>
              <a:t>Defin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ired profit range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1D9FA63-67A9-4702-B8D9-70C282E7D713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569068" y="3663125"/>
            <a:ext cx="2172875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1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What Resources Do You Have?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y constraints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y variables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y constant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5B53DAE-766F-4986-8C1A-6A9127C520FE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9083428" y="2779882"/>
            <a:ext cx="2192551" cy="1082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400" b="1">
                <a:solidFill>
                  <a:srgbClr val="26890D"/>
                </a:solidFill>
                <a:latin typeface="Calibri"/>
                <a:cs typeface="Verdana" panose="020B0604030504040204" pitchFamily="34" charset="0"/>
              </a:rPr>
              <a:t>Choose Recommendation</a:t>
            </a:r>
            <a:endParaRPr kumimoji="0" lang="fr-CA" sz="1400" b="1" i="0" u="none" strike="noStrike" kern="1200" cap="none" spc="0" normalizeH="0" baseline="0" noProof="0">
              <a:ln>
                <a:noFill/>
              </a:ln>
              <a:solidFill>
                <a:srgbClr val="26890D"/>
              </a:solidFill>
              <a:effectLst/>
              <a:uLnTx/>
              <a:uFillTx/>
              <a:latin typeface="Calibri"/>
              <a:ea typeface="+mn-ea"/>
              <a:cs typeface="Verdana" panose="020B0604030504040204" pitchFamily="34" charset="0"/>
            </a:endParaRP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ek optimal performance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 use a combina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00D17FD-6450-4132-A7D8-E6B63233031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560596" y="4862134"/>
            <a:ext cx="2589313" cy="1531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1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Is </a:t>
            </a:r>
            <a:r>
              <a:rPr lang="fr-CA" sz="1400" b="1">
                <a:solidFill>
                  <a:srgbClr val="26890D"/>
                </a:solidFill>
                <a:latin typeface="Calibri"/>
                <a:cs typeface="Verdana" panose="020B0604030504040204" pitchFamily="34" charset="0"/>
              </a:rPr>
              <a:t>I</a:t>
            </a:r>
            <a:r>
              <a:rPr kumimoji="0" lang="fr-CA" sz="1400" b="1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Verdana" panose="020B0604030504040204" pitchFamily="34" charset="0"/>
              </a:rPr>
              <a:t>t Sufficient?</a:t>
            </a: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/>
              </a:rPr>
              <a:t>Is it representative of an average production budget?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128588" marR="0" lvl="0" indent="-10287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w can one leverage a low budget?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25718" marR="0" lvl="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7B722C-D7CD-2D21-FE78-C758F2226995}"/>
              </a:ext>
            </a:extLst>
          </p:cNvPr>
          <p:cNvSpPr txBox="1"/>
          <p:nvPr/>
        </p:nvSpPr>
        <p:spPr>
          <a:xfrm>
            <a:off x="422926" y="606896"/>
            <a:ext cx="6299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Implementing these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15306777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rc 35">
            <a:extLst>
              <a:ext uri="{FF2B5EF4-FFF2-40B4-BE49-F238E27FC236}">
                <a16:creationId xmlns:a16="http://schemas.microsoft.com/office/drawing/2014/main" id="{C5E8A21A-C674-476C-A0E9-41947BB38F18}"/>
              </a:ext>
            </a:extLst>
          </p:cNvPr>
          <p:cNvSpPr/>
          <p:nvPr/>
        </p:nvSpPr>
        <p:spPr>
          <a:xfrm>
            <a:off x="491380" y="1973110"/>
            <a:ext cx="4088045" cy="4088045"/>
          </a:xfrm>
          <a:prstGeom prst="arc">
            <a:avLst>
              <a:gd name="adj1" fmla="val 16812435"/>
              <a:gd name="adj2" fmla="val 4781030"/>
            </a:avLst>
          </a:prstGeom>
          <a:ln w="25400" cap="rnd">
            <a:solidFill>
              <a:schemeClr val="bg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3B27D4D6-F06F-4941-9B1D-99559099373C}"/>
              </a:ext>
            </a:extLst>
          </p:cNvPr>
          <p:cNvSpPr/>
          <p:nvPr/>
        </p:nvSpPr>
        <p:spPr>
          <a:xfrm flipH="1">
            <a:off x="516797" y="1973110"/>
            <a:ext cx="4088045" cy="4088045"/>
          </a:xfrm>
          <a:prstGeom prst="arc">
            <a:avLst>
              <a:gd name="adj1" fmla="val 16812435"/>
              <a:gd name="adj2" fmla="val 4781841"/>
            </a:avLst>
          </a:prstGeom>
          <a:ln w="25400" cap="rnd">
            <a:solidFill>
              <a:schemeClr val="bg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CE2C832-D59F-44DD-BDE0-C7857C106B53}"/>
              </a:ext>
            </a:extLst>
          </p:cNvPr>
          <p:cNvSpPr/>
          <p:nvPr/>
        </p:nvSpPr>
        <p:spPr bwMode="gray">
          <a:xfrm>
            <a:off x="729088" y="2179916"/>
            <a:ext cx="3674434" cy="3674434"/>
          </a:xfrm>
          <a:prstGeom prst="ellipse">
            <a:avLst/>
          </a:prstGeom>
          <a:solidFill>
            <a:schemeClr val="accent3">
              <a:lumMod val="75000"/>
              <a:alpha val="3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677C067-F953-407E-A85D-174799984A63}"/>
              </a:ext>
            </a:extLst>
          </p:cNvPr>
          <p:cNvSpPr/>
          <p:nvPr/>
        </p:nvSpPr>
        <p:spPr bwMode="gray">
          <a:xfrm>
            <a:off x="890623" y="2337680"/>
            <a:ext cx="3340395" cy="3340395"/>
          </a:xfrm>
          <a:prstGeom prst="ellipse">
            <a:avLst/>
          </a:prstGeom>
          <a:solidFill>
            <a:schemeClr val="accent3">
              <a:lumMod val="75000"/>
              <a:alpha val="3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740C1A-0E95-4951-B5B8-844414A4D899}"/>
              </a:ext>
            </a:extLst>
          </p:cNvPr>
          <p:cNvSpPr/>
          <p:nvPr/>
        </p:nvSpPr>
        <p:spPr bwMode="gray">
          <a:xfrm>
            <a:off x="1047944" y="2468948"/>
            <a:ext cx="3036722" cy="3036722"/>
          </a:xfrm>
          <a:prstGeom prst="ellipse">
            <a:avLst/>
          </a:prstGeom>
          <a:solidFill>
            <a:schemeClr val="accent3">
              <a:lumMod val="75000"/>
              <a:alpha val="3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0C773DD-9BE7-4FD8-ADE8-9249676B4DAC}"/>
              </a:ext>
            </a:extLst>
          </p:cNvPr>
          <p:cNvSpPr/>
          <p:nvPr/>
        </p:nvSpPr>
        <p:spPr bwMode="gray">
          <a:xfrm>
            <a:off x="1185977" y="2636805"/>
            <a:ext cx="2760657" cy="2760657"/>
          </a:xfrm>
          <a:prstGeom prst="ellipse">
            <a:avLst/>
          </a:prstGeom>
          <a:solidFill>
            <a:schemeClr val="tx1">
              <a:alpha val="2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D4822F1-D35A-4529-B33C-5058B2AB54C4}"/>
              </a:ext>
            </a:extLst>
          </p:cNvPr>
          <p:cNvGrpSpPr/>
          <p:nvPr/>
        </p:nvGrpSpPr>
        <p:grpSpPr>
          <a:xfrm>
            <a:off x="1750729" y="3228644"/>
            <a:ext cx="1631154" cy="1406167"/>
            <a:chOff x="1669172" y="3314575"/>
            <a:chExt cx="1794269" cy="1546784"/>
          </a:xfrm>
        </p:grpSpPr>
        <p:sp>
          <p:nvSpPr>
            <p:cNvPr id="8" name="Isosceles Triangle 7">
              <a:extLst>
                <a:ext uri="{FF2B5EF4-FFF2-40B4-BE49-F238E27FC236}">
                  <a16:creationId xmlns:a16="http://schemas.microsoft.com/office/drawing/2014/main" id="{C3A8CFA0-6085-4DD3-A77E-2D5168F1AA48}"/>
                </a:ext>
              </a:extLst>
            </p:cNvPr>
            <p:cNvSpPr/>
            <p:nvPr/>
          </p:nvSpPr>
          <p:spPr bwMode="gray">
            <a:xfrm>
              <a:off x="1669172" y="3314575"/>
              <a:ext cx="1794269" cy="1546784"/>
            </a:xfrm>
            <a:prstGeom prst="triangle">
              <a:avLst/>
            </a:prstGeom>
            <a:noFill/>
            <a:ln w="25400" algn="ctr">
              <a:solidFill>
                <a:schemeClr val="accent3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07358F6-4FF9-48E9-9ED0-8491AA14F01D}"/>
                </a:ext>
              </a:extLst>
            </p:cNvPr>
            <p:cNvGrpSpPr/>
            <p:nvPr/>
          </p:nvGrpSpPr>
          <p:grpSpPr>
            <a:xfrm>
              <a:off x="2498918" y="3740398"/>
              <a:ext cx="134776" cy="907079"/>
              <a:chOff x="6005513" y="2852709"/>
              <a:chExt cx="179387" cy="1207323"/>
            </a:xfrm>
          </p:grpSpPr>
          <p:sp>
            <p:nvSpPr>
              <p:cNvPr id="9" name="Trapezoid 8">
                <a:extLst>
                  <a:ext uri="{FF2B5EF4-FFF2-40B4-BE49-F238E27FC236}">
                    <a16:creationId xmlns:a16="http://schemas.microsoft.com/office/drawing/2014/main" id="{5536512C-43CB-40CD-94B3-085713923BE7}"/>
                  </a:ext>
                </a:extLst>
              </p:cNvPr>
              <p:cNvSpPr/>
              <p:nvPr/>
            </p:nvSpPr>
            <p:spPr bwMode="gray">
              <a:xfrm flipV="1">
                <a:off x="6005513" y="2852709"/>
                <a:ext cx="179387" cy="1007483"/>
              </a:xfrm>
              <a:prstGeom prst="trapezoid">
                <a:avLst/>
              </a:prstGeom>
              <a:noFill/>
              <a:ln w="25400" algn="ctr">
                <a:solidFill>
                  <a:schemeClr val="accent3">
                    <a:lumMod val="60000"/>
                    <a:lumOff val="40000"/>
                  </a:schemeClr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B4FFEFF4-0F7D-4EA5-BB18-9E5FFF5774D2}"/>
                  </a:ext>
                </a:extLst>
              </p:cNvPr>
              <p:cNvSpPr/>
              <p:nvPr/>
            </p:nvSpPr>
            <p:spPr bwMode="gray">
              <a:xfrm>
                <a:off x="6049962" y="3960019"/>
                <a:ext cx="90488" cy="100013"/>
              </a:xfrm>
              <a:prstGeom prst="rect">
                <a:avLst/>
              </a:prstGeom>
              <a:noFill/>
              <a:ln w="25400" algn="ctr">
                <a:solidFill>
                  <a:schemeClr val="accent3">
                    <a:lumMod val="60000"/>
                    <a:lumOff val="40000"/>
                  </a:schemeClr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6F4B5722-2CDC-4CC6-B138-D8EDB141AE62}"/>
              </a:ext>
            </a:extLst>
          </p:cNvPr>
          <p:cNvSpPr/>
          <p:nvPr/>
        </p:nvSpPr>
        <p:spPr>
          <a:xfrm>
            <a:off x="6616452" y="1902424"/>
            <a:ext cx="4869644" cy="607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0A3E0"/>
                </a:solidFill>
                <a:latin typeface="Calibri"/>
              </a:rPr>
              <a:t>Collection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1142609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Comma</a:t>
            </a:r>
            <a:r>
              <a:rPr kumimoji="0" lang="en-US" sz="1200" b="0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 Separated Values and SQL Database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ヒラギノ角ゴ ProN W3" charset="0"/>
              <a:sym typeface="Gotham Book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417DA9-D89D-4B3F-A131-0462D93B4E68}"/>
              </a:ext>
            </a:extLst>
          </p:cNvPr>
          <p:cNvSpPr txBox="1"/>
          <p:nvPr/>
        </p:nvSpPr>
        <p:spPr>
          <a:xfrm>
            <a:off x="6624736" y="5622068"/>
            <a:ext cx="4869645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ting Recommendations</a:t>
            </a:r>
          </a:p>
          <a:p>
            <a:pPr marL="0" marR="0" lvl="0" indent="0" algn="l" defTabSz="1142609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Finalizing findings for recommenda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71F6CF4-79C8-4CC2-8527-96D8F97ED4DA}"/>
              </a:ext>
            </a:extLst>
          </p:cNvPr>
          <p:cNvSpPr txBox="1"/>
          <p:nvPr/>
        </p:nvSpPr>
        <p:spPr>
          <a:xfrm>
            <a:off x="6616452" y="4696526"/>
            <a:ext cx="4869645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sis</a:t>
            </a:r>
          </a:p>
          <a:p>
            <a:pPr lvl="0" defTabSz="1142609">
              <a:spcBef>
                <a:spcPts val="562"/>
              </a:spcBef>
              <a:buSzPct val="100000"/>
              <a:defRPr/>
            </a:pPr>
            <a:r>
              <a:rPr lang="en-US" sz="1200" kern="0">
                <a:solidFill>
                  <a:prstClr val="white"/>
                </a:solidFill>
                <a:latin typeface="Calibri"/>
                <a:ea typeface="ヒラギノ角ゴ ProN W3" charset="0"/>
                <a:sym typeface="Gotham Book" charset="0"/>
              </a:rPr>
              <a:t>P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lotting</a:t>
            </a:r>
            <a:r>
              <a:rPr kumimoji="0" lang="en-US" sz="1200" b="0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 packages include </a:t>
            </a:r>
            <a:r>
              <a:rPr lang="en-US" sz="1200" kern="0">
                <a:solidFill>
                  <a:prstClr val="white"/>
                </a:solidFill>
                <a:ea typeface="ヒラギノ角ゴ ProN W3" charset="0"/>
                <a:sym typeface="Gotham Book" charset="0"/>
              </a:rPr>
              <a:t>Matplotlib and Seaborn 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ヒラギノ角ゴ ProN W3" charset="0"/>
              <a:cs typeface="+mn-cs"/>
              <a:sym typeface="Gotham Book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61A11C-C01A-4F64-9A2B-A7776ABA120C}"/>
              </a:ext>
            </a:extLst>
          </p:cNvPr>
          <p:cNvSpPr txBox="1"/>
          <p:nvPr/>
        </p:nvSpPr>
        <p:spPr>
          <a:xfrm>
            <a:off x="6616452" y="2845446"/>
            <a:ext cx="4869644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eaning</a:t>
            </a:r>
          </a:p>
          <a:p>
            <a:pPr marL="0" marR="0" lvl="0" indent="0" algn="l" defTabSz="1142609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Numpy</a:t>
            </a:r>
            <a:r>
              <a:rPr lang="en-US" sz="1200" kern="0">
                <a:solidFill>
                  <a:prstClr val="white"/>
                </a:solidFill>
                <a:latin typeface="Calibri"/>
                <a:ea typeface="ヒラギノ角ゴ ProN W3" charset="0"/>
                <a:sym typeface="Gotham Book" charset="0"/>
              </a:rPr>
              <a:t> and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 Pandas DataFrame application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CF5C9AA-2CAE-430A-9770-0A854565AACD}"/>
              </a:ext>
            </a:extLst>
          </p:cNvPr>
          <p:cNvSpPr txBox="1"/>
          <p:nvPr/>
        </p:nvSpPr>
        <p:spPr>
          <a:xfrm>
            <a:off x="6616452" y="3770986"/>
            <a:ext cx="4869645" cy="60785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cessing</a:t>
            </a: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defTabSz="1142609">
              <a:spcBef>
                <a:spcPts val="562"/>
              </a:spcBef>
              <a:buSzPct val="100000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Statistics Using </a:t>
            </a:r>
            <a:r>
              <a:rPr lang="en-US" sz="1200" kern="0">
                <a:solidFill>
                  <a:schemeClr val="bg1"/>
                </a:solidFill>
                <a:latin typeface="Calibri"/>
                <a:ea typeface="ヒラギノ角ゴ ProN W3" charset="0"/>
                <a:sym typeface="Gotham Book" charset="0"/>
              </a:rPr>
              <a:t>Scipy, built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in Python functions and</a:t>
            </a:r>
            <a:r>
              <a:rPr kumimoji="0" lang="en-US" sz="1200" b="0" i="0" u="none" strike="noStrike" kern="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ヒラギノ角ゴ ProN W3" charset="0"/>
                <a:cs typeface="+mn-cs"/>
                <a:sym typeface="Gotham Book" charset="0"/>
              </a:rPr>
              <a:t> other packages</a:t>
            </a:r>
            <a:r>
              <a:rPr lang="en-US" sz="1200" kern="0">
                <a:solidFill>
                  <a:schemeClr val="bg1"/>
                </a:solidFill>
                <a:latin typeface="Calibri"/>
                <a:ea typeface="ヒラギノ角ゴ ProN W3" charset="0"/>
                <a:sym typeface="Gotham Book" charset="0"/>
              </a:rPr>
              <a:t> </a:t>
            </a:r>
            <a:endParaRPr lang="en-US" sz="12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ヒラギノ角ゴ ProN W3" charset="0"/>
              <a:cs typeface="Calibri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0B86FC4-2DE4-4A25-87BC-F32109C3457F}"/>
              </a:ext>
            </a:extLst>
          </p:cNvPr>
          <p:cNvCxnSpPr>
            <a:cxnSpLocks/>
          </p:cNvCxnSpPr>
          <p:nvPr/>
        </p:nvCxnSpPr>
        <p:spPr>
          <a:xfrm>
            <a:off x="6706909" y="2510626"/>
            <a:ext cx="5217750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8228A18-081A-4834-BEC0-ADB2CF894D6E}"/>
              </a:ext>
            </a:extLst>
          </p:cNvPr>
          <p:cNvCxnSpPr>
            <a:cxnSpLocks/>
          </p:cNvCxnSpPr>
          <p:nvPr/>
        </p:nvCxnSpPr>
        <p:spPr>
          <a:xfrm>
            <a:off x="6706909" y="3436166"/>
            <a:ext cx="5217750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AC8A759-E312-45DB-8B8F-7A5AE70F0F1A}"/>
              </a:ext>
            </a:extLst>
          </p:cNvPr>
          <p:cNvCxnSpPr>
            <a:cxnSpLocks/>
          </p:cNvCxnSpPr>
          <p:nvPr/>
        </p:nvCxnSpPr>
        <p:spPr>
          <a:xfrm>
            <a:off x="6706909" y="4361706"/>
            <a:ext cx="5217750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DB27507-FF8D-4DEE-B972-E5BD9DB82664}"/>
              </a:ext>
            </a:extLst>
          </p:cNvPr>
          <p:cNvCxnSpPr>
            <a:cxnSpLocks/>
          </p:cNvCxnSpPr>
          <p:nvPr/>
        </p:nvCxnSpPr>
        <p:spPr>
          <a:xfrm>
            <a:off x="6706909" y="5287246"/>
            <a:ext cx="5217750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grpSp>
        <p:nvGrpSpPr>
          <p:cNvPr id="142" name="Group 74">
            <a:extLst>
              <a:ext uri="{FF2B5EF4-FFF2-40B4-BE49-F238E27FC236}">
                <a16:creationId xmlns:a16="http://schemas.microsoft.com/office/drawing/2014/main" id="{7847FEF3-EC51-48C0-984F-0A3935FD03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88809" y="2876216"/>
            <a:ext cx="578159" cy="559950"/>
            <a:chOff x="2417" y="4694"/>
            <a:chExt cx="1143" cy="1107"/>
          </a:xfrm>
          <a:solidFill>
            <a:srgbClr val="00A3E0"/>
          </a:solidFill>
        </p:grpSpPr>
        <p:sp>
          <p:nvSpPr>
            <p:cNvPr id="144" name="Freeform 75">
              <a:extLst>
                <a:ext uri="{FF2B5EF4-FFF2-40B4-BE49-F238E27FC236}">
                  <a16:creationId xmlns:a16="http://schemas.microsoft.com/office/drawing/2014/main" id="{F70F5629-21BD-4FE4-BC7D-F3E73A74F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" y="5044"/>
              <a:ext cx="113" cy="54"/>
            </a:xfrm>
            <a:custGeom>
              <a:avLst/>
              <a:gdLst>
                <a:gd name="T0" fmla="*/ 26 w 51"/>
                <a:gd name="T1" fmla="*/ 0 h 25"/>
                <a:gd name="T2" fmla="*/ 0 w 51"/>
                <a:gd name="T3" fmla="*/ 25 h 25"/>
                <a:gd name="T4" fmla="*/ 17 w 51"/>
                <a:gd name="T5" fmla="*/ 25 h 25"/>
                <a:gd name="T6" fmla="*/ 26 w 51"/>
                <a:gd name="T7" fmla="*/ 17 h 25"/>
                <a:gd name="T8" fmla="*/ 34 w 51"/>
                <a:gd name="T9" fmla="*/ 25 h 25"/>
                <a:gd name="T10" fmla="*/ 51 w 51"/>
                <a:gd name="T11" fmla="*/ 25 h 25"/>
                <a:gd name="T12" fmla="*/ 26 w 51"/>
                <a:gd name="T13" fmla="*/ 0 h 25"/>
                <a:gd name="T14" fmla="*/ 26 w 51"/>
                <a:gd name="T15" fmla="*/ 0 h 25"/>
                <a:gd name="T16" fmla="*/ 26 w 51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5">
                  <a:moveTo>
                    <a:pt x="26" y="0"/>
                  </a:moveTo>
                  <a:cubicBezTo>
                    <a:pt x="11" y="0"/>
                    <a:pt x="0" y="11"/>
                    <a:pt x="0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1"/>
                    <a:pt x="21" y="17"/>
                    <a:pt x="26" y="17"/>
                  </a:cubicBezTo>
                  <a:cubicBezTo>
                    <a:pt x="30" y="17"/>
                    <a:pt x="34" y="21"/>
                    <a:pt x="34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1"/>
                    <a:pt x="40" y="0"/>
                    <a:pt x="26" y="0"/>
                  </a:cubicBezTo>
                  <a:close/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76">
              <a:extLst>
                <a:ext uri="{FF2B5EF4-FFF2-40B4-BE49-F238E27FC236}">
                  <a16:creationId xmlns:a16="http://schemas.microsoft.com/office/drawing/2014/main" id="{09A91123-6DCB-47D3-895B-1B52B034CC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" y="5044"/>
              <a:ext cx="114" cy="54"/>
            </a:xfrm>
            <a:custGeom>
              <a:avLst/>
              <a:gdLst>
                <a:gd name="T0" fmla="*/ 26 w 51"/>
                <a:gd name="T1" fmla="*/ 0 h 25"/>
                <a:gd name="T2" fmla="*/ 0 w 51"/>
                <a:gd name="T3" fmla="*/ 25 h 25"/>
                <a:gd name="T4" fmla="*/ 17 w 51"/>
                <a:gd name="T5" fmla="*/ 25 h 25"/>
                <a:gd name="T6" fmla="*/ 26 w 51"/>
                <a:gd name="T7" fmla="*/ 17 h 25"/>
                <a:gd name="T8" fmla="*/ 34 w 51"/>
                <a:gd name="T9" fmla="*/ 25 h 25"/>
                <a:gd name="T10" fmla="*/ 51 w 51"/>
                <a:gd name="T11" fmla="*/ 25 h 25"/>
                <a:gd name="T12" fmla="*/ 26 w 51"/>
                <a:gd name="T13" fmla="*/ 0 h 25"/>
                <a:gd name="T14" fmla="*/ 26 w 51"/>
                <a:gd name="T15" fmla="*/ 0 h 25"/>
                <a:gd name="T16" fmla="*/ 26 w 51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5">
                  <a:moveTo>
                    <a:pt x="26" y="0"/>
                  </a:moveTo>
                  <a:cubicBezTo>
                    <a:pt x="12" y="0"/>
                    <a:pt x="0" y="11"/>
                    <a:pt x="0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1"/>
                    <a:pt x="21" y="17"/>
                    <a:pt x="26" y="17"/>
                  </a:cubicBezTo>
                  <a:cubicBezTo>
                    <a:pt x="31" y="17"/>
                    <a:pt x="34" y="21"/>
                    <a:pt x="34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1"/>
                    <a:pt x="40" y="0"/>
                    <a:pt x="26" y="0"/>
                  </a:cubicBezTo>
                  <a:close/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77">
              <a:extLst>
                <a:ext uri="{FF2B5EF4-FFF2-40B4-BE49-F238E27FC236}">
                  <a16:creationId xmlns:a16="http://schemas.microsoft.com/office/drawing/2014/main" id="{58A17C57-0F33-4F72-946D-ED4EC9BC1A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3" y="5542"/>
              <a:ext cx="151" cy="147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1 h 68"/>
                <a:gd name="T12" fmla="*/ 17 w 68"/>
                <a:gd name="T13" fmla="*/ 34 h 68"/>
                <a:gd name="T14" fmla="*/ 34 w 68"/>
                <a:gd name="T15" fmla="*/ 17 h 68"/>
                <a:gd name="T16" fmla="*/ 51 w 68"/>
                <a:gd name="T17" fmla="*/ 34 h 68"/>
                <a:gd name="T18" fmla="*/ 34 w 68"/>
                <a:gd name="T19" fmla="*/ 51 h 68"/>
                <a:gd name="T20" fmla="*/ 34 w 68"/>
                <a:gd name="T21" fmla="*/ 51 h 68"/>
                <a:gd name="T22" fmla="*/ 34 w 68"/>
                <a:gd name="T23" fmla="*/ 5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ubicBezTo>
                    <a:pt x="52" y="68"/>
                    <a:pt x="68" y="53"/>
                    <a:pt x="68" y="34"/>
                  </a:cubicBezTo>
                  <a:cubicBezTo>
                    <a:pt x="68" y="16"/>
                    <a:pt x="52" y="0"/>
                    <a:pt x="34" y="0"/>
                  </a:cubicBezTo>
                  <a:close/>
                  <a:moveTo>
                    <a:pt x="34" y="51"/>
                  </a:moveTo>
                  <a:cubicBezTo>
                    <a:pt x="24" y="51"/>
                    <a:pt x="17" y="44"/>
                    <a:pt x="17" y="34"/>
                  </a:cubicBezTo>
                  <a:cubicBezTo>
                    <a:pt x="17" y="25"/>
                    <a:pt x="24" y="17"/>
                    <a:pt x="34" y="17"/>
                  </a:cubicBezTo>
                  <a:cubicBezTo>
                    <a:pt x="43" y="17"/>
                    <a:pt x="51" y="25"/>
                    <a:pt x="51" y="34"/>
                  </a:cubicBezTo>
                  <a:cubicBezTo>
                    <a:pt x="51" y="44"/>
                    <a:pt x="43" y="51"/>
                    <a:pt x="34" y="51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1"/>
                    <a:pt x="34" y="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78">
              <a:extLst>
                <a:ext uri="{FF2B5EF4-FFF2-40B4-BE49-F238E27FC236}">
                  <a16:creationId xmlns:a16="http://schemas.microsoft.com/office/drawing/2014/main" id="{DFE9CEE0-1091-4142-8736-3D86E0B819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7" y="4694"/>
              <a:ext cx="1143" cy="1107"/>
            </a:xfrm>
            <a:custGeom>
              <a:avLst/>
              <a:gdLst>
                <a:gd name="T0" fmla="*/ 460 w 512"/>
                <a:gd name="T1" fmla="*/ 384 h 512"/>
                <a:gd name="T2" fmla="*/ 323 w 512"/>
                <a:gd name="T3" fmla="*/ 256 h 512"/>
                <a:gd name="T4" fmla="*/ 341 w 512"/>
                <a:gd name="T5" fmla="*/ 247 h 512"/>
                <a:gd name="T6" fmla="*/ 384 w 512"/>
                <a:gd name="T7" fmla="*/ 189 h 512"/>
                <a:gd name="T8" fmla="*/ 384 w 512"/>
                <a:gd name="T9" fmla="*/ 126 h 512"/>
                <a:gd name="T10" fmla="*/ 128 w 512"/>
                <a:gd name="T11" fmla="*/ 126 h 512"/>
                <a:gd name="T12" fmla="*/ 149 w 512"/>
                <a:gd name="T13" fmla="*/ 196 h 512"/>
                <a:gd name="T14" fmla="*/ 188 w 512"/>
                <a:gd name="T15" fmla="*/ 256 h 512"/>
                <a:gd name="T16" fmla="*/ 51 w 512"/>
                <a:gd name="T17" fmla="*/ 384 h 512"/>
                <a:gd name="T18" fmla="*/ 0 w 512"/>
                <a:gd name="T19" fmla="*/ 495 h 512"/>
                <a:gd name="T20" fmla="*/ 512 w 512"/>
                <a:gd name="T21" fmla="*/ 512 h 512"/>
                <a:gd name="T22" fmla="*/ 460 w 512"/>
                <a:gd name="T23" fmla="*/ 495 h 512"/>
                <a:gd name="T24" fmla="*/ 344 w 512"/>
                <a:gd name="T25" fmla="*/ 230 h 512"/>
                <a:gd name="T26" fmla="*/ 362 w 512"/>
                <a:gd name="T27" fmla="*/ 196 h 512"/>
                <a:gd name="T28" fmla="*/ 367 w 512"/>
                <a:gd name="T29" fmla="*/ 204 h 512"/>
                <a:gd name="T30" fmla="*/ 362 w 512"/>
                <a:gd name="T31" fmla="*/ 179 h 512"/>
                <a:gd name="T32" fmla="*/ 358 w 512"/>
                <a:gd name="T33" fmla="*/ 136 h 512"/>
                <a:gd name="T34" fmla="*/ 384 w 512"/>
                <a:gd name="T35" fmla="*/ 158 h 512"/>
                <a:gd name="T36" fmla="*/ 149 w 512"/>
                <a:gd name="T37" fmla="*/ 179 h 512"/>
                <a:gd name="T38" fmla="*/ 149 w 512"/>
                <a:gd name="T39" fmla="*/ 136 h 512"/>
                <a:gd name="T40" fmla="*/ 153 w 512"/>
                <a:gd name="T41" fmla="*/ 179 h 512"/>
                <a:gd name="T42" fmla="*/ 145 w 512"/>
                <a:gd name="T43" fmla="*/ 120 h 512"/>
                <a:gd name="T44" fmla="*/ 366 w 512"/>
                <a:gd name="T45" fmla="*/ 120 h 512"/>
                <a:gd name="T46" fmla="*/ 357 w 512"/>
                <a:gd name="T47" fmla="*/ 119 h 512"/>
                <a:gd name="T48" fmla="*/ 155 w 512"/>
                <a:gd name="T49" fmla="*/ 119 h 512"/>
                <a:gd name="T50" fmla="*/ 341 w 512"/>
                <a:gd name="T51" fmla="*/ 136 h 512"/>
                <a:gd name="T52" fmla="*/ 230 w 512"/>
                <a:gd name="T53" fmla="*/ 76 h 512"/>
                <a:gd name="T54" fmla="*/ 171 w 512"/>
                <a:gd name="T55" fmla="*/ 127 h 512"/>
                <a:gd name="T56" fmla="*/ 341 w 512"/>
                <a:gd name="T57" fmla="*/ 136 h 512"/>
                <a:gd name="T58" fmla="*/ 170 w 512"/>
                <a:gd name="T59" fmla="*/ 144 h 512"/>
                <a:gd name="T60" fmla="*/ 341 w 512"/>
                <a:gd name="T61" fmla="*/ 153 h 512"/>
                <a:gd name="T62" fmla="*/ 324 w 512"/>
                <a:gd name="T63" fmla="*/ 230 h 512"/>
                <a:gd name="T64" fmla="*/ 256 w 512"/>
                <a:gd name="T65" fmla="*/ 247 h 512"/>
                <a:gd name="T66" fmla="*/ 291 w 512"/>
                <a:gd name="T67" fmla="*/ 257 h 512"/>
                <a:gd name="T68" fmla="*/ 170 w 512"/>
                <a:gd name="T69" fmla="*/ 179 h 512"/>
                <a:gd name="T70" fmla="*/ 256 w 512"/>
                <a:gd name="T71" fmla="*/ 281 h 512"/>
                <a:gd name="T72" fmla="*/ 256 w 512"/>
                <a:gd name="T73" fmla="*/ 330 h 512"/>
                <a:gd name="T74" fmla="*/ 242 w 512"/>
                <a:gd name="T75" fmla="*/ 341 h 512"/>
                <a:gd name="T76" fmla="*/ 193 w 512"/>
                <a:gd name="T77" fmla="*/ 273 h 512"/>
                <a:gd name="T78" fmla="*/ 242 w 512"/>
                <a:gd name="T79" fmla="*/ 341 h 512"/>
                <a:gd name="T80" fmla="*/ 319 w 512"/>
                <a:gd name="T81" fmla="*/ 273 h 512"/>
                <a:gd name="T82" fmla="*/ 269 w 512"/>
                <a:gd name="T83" fmla="*/ 341 h 512"/>
                <a:gd name="T84" fmla="*/ 94 w 512"/>
                <a:gd name="T85" fmla="*/ 384 h 512"/>
                <a:gd name="T86" fmla="*/ 68 w 512"/>
                <a:gd name="T87" fmla="*/ 495 h 512"/>
                <a:gd name="T88" fmla="*/ 174 w 512"/>
                <a:gd name="T89" fmla="*/ 273 h 512"/>
                <a:gd name="T90" fmla="*/ 136 w 512"/>
                <a:gd name="T91" fmla="*/ 341 h 512"/>
                <a:gd name="T92" fmla="*/ 401 w 512"/>
                <a:gd name="T93" fmla="*/ 495 h 512"/>
                <a:gd name="T94" fmla="*/ 111 w 512"/>
                <a:gd name="T95" fmla="*/ 384 h 512"/>
                <a:gd name="T96" fmla="*/ 375 w 512"/>
                <a:gd name="T97" fmla="*/ 358 h 512"/>
                <a:gd name="T98" fmla="*/ 401 w 512"/>
                <a:gd name="T99" fmla="*/ 495 h 512"/>
                <a:gd name="T100" fmla="*/ 418 w 512"/>
                <a:gd name="T101" fmla="*/ 495 h 512"/>
                <a:gd name="T102" fmla="*/ 375 w 512"/>
                <a:gd name="T103" fmla="*/ 341 h 512"/>
                <a:gd name="T104" fmla="*/ 338 w 512"/>
                <a:gd name="T105" fmla="*/ 273 h 512"/>
                <a:gd name="T106" fmla="*/ 443 w 512"/>
                <a:gd name="T107" fmla="*/ 495 h 512"/>
                <a:gd name="T108" fmla="*/ 443 w 512"/>
                <a:gd name="T109" fmla="*/ 49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12" h="512">
                  <a:moveTo>
                    <a:pt x="460" y="495"/>
                  </a:moveTo>
                  <a:cubicBezTo>
                    <a:pt x="460" y="384"/>
                    <a:pt x="460" y="384"/>
                    <a:pt x="460" y="384"/>
                  </a:cubicBezTo>
                  <a:cubicBezTo>
                    <a:pt x="460" y="313"/>
                    <a:pt x="403" y="256"/>
                    <a:pt x="332" y="256"/>
                  </a:cubicBezTo>
                  <a:cubicBezTo>
                    <a:pt x="323" y="256"/>
                    <a:pt x="323" y="256"/>
                    <a:pt x="323" y="256"/>
                  </a:cubicBezTo>
                  <a:cubicBezTo>
                    <a:pt x="326" y="253"/>
                    <a:pt x="329" y="250"/>
                    <a:pt x="332" y="247"/>
                  </a:cubicBezTo>
                  <a:cubicBezTo>
                    <a:pt x="341" y="247"/>
                    <a:pt x="341" y="247"/>
                    <a:pt x="341" y="247"/>
                  </a:cubicBezTo>
                  <a:cubicBezTo>
                    <a:pt x="365" y="247"/>
                    <a:pt x="384" y="228"/>
                    <a:pt x="384" y="204"/>
                  </a:cubicBezTo>
                  <a:cubicBezTo>
                    <a:pt x="384" y="189"/>
                    <a:pt x="384" y="189"/>
                    <a:pt x="384" y="189"/>
                  </a:cubicBezTo>
                  <a:cubicBezTo>
                    <a:pt x="394" y="183"/>
                    <a:pt x="401" y="171"/>
                    <a:pt x="401" y="158"/>
                  </a:cubicBezTo>
                  <a:cubicBezTo>
                    <a:pt x="401" y="144"/>
                    <a:pt x="394" y="132"/>
                    <a:pt x="384" y="126"/>
                  </a:cubicBezTo>
                  <a:cubicBezTo>
                    <a:pt x="382" y="56"/>
                    <a:pt x="326" y="0"/>
                    <a:pt x="256" y="0"/>
                  </a:cubicBezTo>
                  <a:cubicBezTo>
                    <a:pt x="186" y="0"/>
                    <a:pt x="129" y="56"/>
                    <a:pt x="128" y="126"/>
                  </a:cubicBezTo>
                  <a:cubicBezTo>
                    <a:pt x="117" y="132"/>
                    <a:pt x="111" y="144"/>
                    <a:pt x="111" y="158"/>
                  </a:cubicBezTo>
                  <a:cubicBezTo>
                    <a:pt x="111" y="179"/>
                    <a:pt x="128" y="196"/>
                    <a:pt x="149" y="196"/>
                  </a:cubicBezTo>
                  <a:cubicBezTo>
                    <a:pt x="155" y="196"/>
                    <a:pt x="155" y="196"/>
                    <a:pt x="155" y="196"/>
                  </a:cubicBezTo>
                  <a:cubicBezTo>
                    <a:pt x="159" y="220"/>
                    <a:pt x="171" y="240"/>
                    <a:pt x="188" y="256"/>
                  </a:cubicBezTo>
                  <a:cubicBezTo>
                    <a:pt x="179" y="256"/>
                    <a:pt x="179" y="256"/>
                    <a:pt x="179" y="256"/>
                  </a:cubicBezTo>
                  <a:cubicBezTo>
                    <a:pt x="108" y="256"/>
                    <a:pt x="51" y="313"/>
                    <a:pt x="51" y="384"/>
                  </a:cubicBezTo>
                  <a:cubicBezTo>
                    <a:pt x="51" y="495"/>
                    <a:pt x="51" y="495"/>
                    <a:pt x="51" y="495"/>
                  </a:cubicBezTo>
                  <a:cubicBezTo>
                    <a:pt x="0" y="495"/>
                    <a:pt x="0" y="495"/>
                    <a:pt x="0" y="495"/>
                  </a:cubicBezTo>
                  <a:cubicBezTo>
                    <a:pt x="0" y="512"/>
                    <a:pt x="0" y="512"/>
                    <a:pt x="0" y="512"/>
                  </a:cubicBezTo>
                  <a:cubicBezTo>
                    <a:pt x="512" y="512"/>
                    <a:pt x="512" y="512"/>
                    <a:pt x="512" y="512"/>
                  </a:cubicBezTo>
                  <a:cubicBezTo>
                    <a:pt x="512" y="495"/>
                    <a:pt x="512" y="495"/>
                    <a:pt x="512" y="495"/>
                  </a:cubicBezTo>
                  <a:lnTo>
                    <a:pt x="460" y="495"/>
                  </a:lnTo>
                  <a:close/>
                  <a:moveTo>
                    <a:pt x="367" y="204"/>
                  </a:moveTo>
                  <a:cubicBezTo>
                    <a:pt x="367" y="217"/>
                    <a:pt x="357" y="228"/>
                    <a:pt x="344" y="230"/>
                  </a:cubicBezTo>
                  <a:cubicBezTo>
                    <a:pt x="350" y="219"/>
                    <a:pt x="354" y="208"/>
                    <a:pt x="357" y="196"/>
                  </a:cubicBezTo>
                  <a:cubicBezTo>
                    <a:pt x="362" y="196"/>
                    <a:pt x="362" y="196"/>
                    <a:pt x="362" y="196"/>
                  </a:cubicBezTo>
                  <a:cubicBezTo>
                    <a:pt x="364" y="196"/>
                    <a:pt x="365" y="196"/>
                    <a:pt x="367" y="196"/>
                  </a:cubicBezTo>
                  <a:lnTo>
                    <a:pt x="367" y="204"/>
                  </a:lnTo>
                  <a:close/>
                  <a:moveTo>
                    <a:pt x="384" y="158"/>
                  </a:moveTo>
                  <a:cubicBezTo>
                    <a:pt x="384" y="169"/>
                    <a:pt x="374" y="179"/>
                    <a:pt x="362" y="179"/>
                  </a:cubicBezTo>
                  <a:cubicBezTo>
                    <a:pt x="358" y="179"/>
                    <a:pt x="358" y="179"/>
                    <a:pt x="358" y="179"/>
                  </a:cubicBezTo>
                  <a:cubicBezTo>
                    <a:pt x="358" y="136"/>
                    <a:pt x="358" y="136"/>
                    <a:pt x="358" y="136"/>
                  </a:cubicBezTo>
                  <a:cubicBezTo>
                    <a:pt x="362" y="136"/>
                    <a:pt x="362" y="136"/>
                    <a:pt x="362" y="136"/>
                  </a:cubicBezTo>
                  <a:cubicBezTo>
                    <a:pt x="374" y="136"/>
                    <a:pt x="384" y="146"/>
                    <a:pt x="384" y="158"/>
                  </a:cubicBezTo>
                  <a:close/>
                  <a:moveTo>
                    <a:pt x="153" y="179"/>
                  </a:moveTo>
                  <a:cubicBezTo>
                    <a:pt x="149" y="179"/>
                    <a:pt x="149" y="179"/>
                    <a:pt x="149" y="179"/>
                  </a:cubicBezTo>
                  <a:cubicBezTo>
                    <a:pt x="137" y="179"/>
                    <a:pt x="128" y="169"/>
                    <a:pt x="128" y="158"/>
                  </a:cubicBezTo>
                  <a:cubicBezTo>
                    <a:pt x="128" y="146"/>
                    <a:pt x="137" y="136"/>
                    <a:pt x="149" y="136"/>
                  </a:cubicBezTo>
                  <a:cubicBezTo>
                    <a:pt x="153" y="136"/>
                    <a:pt x="153" y="136"/>
                    <a:pt x="153" y="136"/>
                  </a:cubicBezTo>
                  <a:lnTo>
                    <a:pt x="153" y="179"/>
                  </a:lnTo>
                  <a:close/>
                  <a:moveTo>
                    <a:pt x="149" y="119"/>
                  </a:moveTo>
                  <a:cubicBezTo>
                    <a:pt x="148" y="119"/>
                    <a:pt x="146" y="119"/>
                    <a:pt x="145" y="120"/>
                  </a:cubicBezTo>
                  <a:cubicBezTo>
                    <a:pt x="149" y="62"/>
                    <a:pt x="197" y="17"/>
                    <a:pt x="256" y="17"/>
                  </a:cubicBezTo>
                  <a:cubicBezTo>
                    <a:pt x="314" y="17"/>
                    <a:pt x="362" y="62"/>
                    <a:pt x="366" y="120"/>
                  </a:cubicBezTo>
                  <a:cubicBezTo>
                    <a:pt x="365" y="119"/>
                    <a:pt x="364" y="119"/>
                    <a:pt x="362" y="119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48" y="71"/>
                    <a:pt x="306" y="34"/>
                    <a:pt x="256" y="34"/>
                  </a:cubicBezTo>
                  <a:cubicBezTo>
                    <a:pt x="205" y="34"/>
                    <a:pt x="163" y="71"/>
                    <a:pt x="155" y="119"/>
                  </a:cubicBezTo>
                  <a:lnTo>
                    <a:pt x="149" y="119"/>
                  </a:lnTo>
                  <a:close/>
                  <a:moveTo>
                    <a:pt x="341" y="136"/>
                  </a:moveTo>
                  <a:cubicBezTo>
                    <a:pt x="279" y="134"/>
                    <a:pt x="239" y="109"/>
                    <a:pt x="239" y="85"/>
                  </a:cubicBezTo>
                  <a:cubicBezTo>
                    <a:pt x="239" y="80"/>
                    <a:pt x="235" y="76"/>
                    <a:pt x="230" y="76"/>
                  </a:cubicBezTo>
                  <a:cubicBezTo>
                    <a:pt x="225" y="76"/>
                    <a:pt x="222" y="80"/>
                    <a:pt x="222" y="85"/>
                  </a:cubicBezTo>
                  <a:cubicBezTo>
                    <a:pt x="222" y="106"/>
                    <a:pt x="199" y="124"/>
                    <a:pt x="171" y="127"/>
                  </a:cubicBezTo>
                  <a:cubicBezTo>
                    <a:pt x="175" y="84"/>
                    <a:pt x="212" y="51"/>
                    <a:pt x="256" y="51"/>
                  </a:cubicBezTo>
                  <a:cubicBezTo>
                    <a:pt x="303" y="51"/>
                    <a:pt x="341" y="89"/>
                    <a:pt x="341" y="136"/>
                  </a:cubicBezTo>
                  <a:close/>
                  <a:moveTo>
                    <a:pt x="170" y="179"/>
                  </a:moveTo>
                  <a:cubicBezTo>
                    <a:pt x="170" y="144"/>
                    <a:pt x="170" y="144"/>
                    <a:pt x="170" y="144"/>
                  </a:cubicBezTo>
                  <a:cubicBezTo>
                    <a:pt x="197" y="142"/>
                    <a:pt x="220" y="129"/>
                    <a:pt x="231" y="111"/>
                  </a:cubicBezTo>
                  <a:cubicBezTo>
                    <a:pt x="249" y="135"/>
                    <a:pt x="290" y="151"/>
                    <a:pt x="341" y="153"/>
                  </a:cubicBezTo>
                  <a:cubicBezTo>
                    <a:pt x="341" y="179"/>
                    <a:pt x="341" y="179"/>
                    <a:pt x="341" y="179"/>
                  </a:cubicBezTo>
                  <a:cubicBezTo>
                    <a:pt x="341" y="198"/>
                    <a:pt x="335" y="216"/>
                    <a:pt x="324" y="230"/>
                  </a:cubicBezTo>
                  <a:cubicBezTo>
                    <a:pt x="256" y="230"/>
                    <a:pt x="256" y="230"/>
                    <a:pt x="256" y="230"/>
                  </a:cubicBezTo>
                  <a:cubicBezTo>
                    <a:pt x="256" y="247"/>
                    <a:pt x="256" y="247"/>
                    <a:pt x="256" y="247"/>
                  </a:cubicBezTo>
                  <a:cubicBezTo>
                    <a:pt x="307" y="247"/>
                    <a:pt x="307" y="247"/>
                    <a:pt x="307" y="247"/>
                  </a:cubicBezTo>
                  <a:cubicBezTo>
                    <a:pt x="302" y="251"/>
                    <a:pt x="296" y="254"/>
                    <a:pt x="291" y="257"/>
                  </a:cubicBezTo>
                  <a:cubicBezTo>
                    <a:pt x="268" y="267"/>
                    <a:pt x="243" y="267"/>
                    <a:pt x="220" y="257"/>
                  </a:cubicBezTo>
                  <a:cubicBezTo>
                    <a:pt x="191" y="243"/>
                    <a:pt x="170" y="213"/>
                    <a:pt x="170" y="179"/>
                  </a:cubicBezTo>
                  <a:close/>
                  <a:moveTo>
                    <a:pt x="229" y="278"/>
                  </a:moveTo>
                  <a:cubicBezTo>
                    <a:pt x="238" y="280"/>
                    <a:pt x="247" y="281"/>
                    <a:pt x="256" y="281"/>
                  </a:cubicBezTo>
                  <a:cubicBezTo>
                    <a:pt x="265" y="281"/>
                    <a:pt x="274" y="280"/>
                    <a:pt x="282" y="278"/>
                  </a:cubicBezTo>
                  <a:cubicBezTo>
                    <a:pt x="256" y="330"/>
                    <a:pt x="256" y="330"/>
                    <a:pt x="256" y="330"/>
                  </a:cubicBezTo>
                  <a:lnTo>
                    <a:pt x="229" y="278"/>
                  </a:lnTo>
                  <a:close/>
                  <a:moveTo>
                    <a:pt x="242" y="341"/>
                  </a:moveTo>
                  <a:cubicBezTo>
                    <a:pt x="227" y="341"/>
                    <a:pt x="227" y="341"/>
                    <a:pt x="227" y="341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8" y="273"/>
                    <a:pt x="208" y="273"/>
                    <a:pt x="208" y="273"/>
                  </a:cubicBezTo>
                  <a:lnTo>
                    <a:pt x="242" y="341"/>
                  </a:lnTo>
                  <a:close/>
                  <a:moveTo>
                    <a:pt x="304" y="273"/>
                  </a:moveTo>
                  <a:cubicBezTo>
                    <a:pt x="319" y="273"/>
                    <a:pt x="319" y="273"/>
                    <a:pt x="319" y="273"/>
                  </a:cubicBezTo>
                  <a:cubicBezTo>
                    <a:pt x="285" y="341"/>
                    <a:pt x="285" y="341"/>
                    <a:pt x="285" y="341"/>
                  </a:cubicBezTo>
                  <a:cubicBezTo>
                    <a:pt x="269" y="341"/>
                    <a:pt x="269" y="341"/>
                    <a:pt x="269" y="341"/>
                  </a:cubicBezTo>
                  <a:lnTo>
                    <a:pt x="304" y="273"/>
                  </a:lnTo>
                  <a:close/>
                  <a:moveTo>
                    <a:pt x="94" y="384"/>
                  </a:moveTo>
                  <a:cubicBezTo>
                    <a:pt x="94" y="495"/>
                    <a:pt x="94" y="495"/>
                    <a:pt x="94" y="495"/>
                  </a:cubicBezTo>
                  <a:cubicBezTo>
                    <a:pt x="68" y="495"/>
                    <a:pt x="68" y="495"/>
                    <a:pt x="68" y="495"/>
                  </a:cubicBezTo>
                  <a:cubicBezTo>
                    <a:pt x="68" y="384"/>
                    <a:pt x="68" y="384"/>
                    <a:pt x="68" y="384"/>
                  </a:cubicBezTo>
                  <a:cubicBezTo>
                    <a:pt x="68" y="324"/>
                    <a:pt x="115" y="276"/>
                    <a:pt x="174" y="273"/>
                  </a:cubicBezTo>
                  <a:cubicBezTo>
                    <a:pt x="208" y="341"/>
                    <a:pt x="208" y="341"/>
                    <a:pt x="208" y="341"/>
                  </a:cubicBezTo>
                  <a:cubicBezTo>
                    <a:pt x="136" y="341"/>
                    <a:pt x="136" y="341"/>
                    <a:pt x="136" y="341"/>
                  </a:cubicBezTo>
                  <a:cubicBezTo>
                    <a:pt x="113" y="341"/>
                    <a:pt x="94" y="360"/>
                    <a:pt x="94" y="384"/>
                  </a:cubicBezTo>
                  <a:close/>
                  <a:moveTo>
                    <a:pt x="401" y="495"/>
                  </a:moveTo>
                  <a:cubicBezTo>
                    <a:pt x="111" y="495"/>
                    <a:pt x="111" y="495"/>
                    <a:pt x="111" y="495"/>
                  </a:cubicBezTo>
                  <a:cubicBezTo>
                    <a:pt x="111" y="384"/>
                    <a:pt x="111" y="384"/>
                    <a:pt x="111" y="384"/>
                  </a:cubicBezTo>
                  <a:cubicBezTo>
                    <a:pt x="111" y="370"/>
                    <a:pt x="122" y="358"/>
                    <a:pt x="136" y="358"/>
                  </a:cubicBezTo>
                  <a:cubicBezTo>
                    <a:pt x="375" y="358"/>
                    <a:pt x="375" y="358"/>
                    <a:pt x="375" y="358"/>
                  </a:cubicBezTo>
                  <a:cubicBezTo>
                    <a:pt x="389" y="358"/>
                    <a:pt x="401" y="370"/>
                    <a:pt x="401" y="384"/>
                  </a:cubicBezTo>
                  <a:lnTo>
                    <a:pt x="401" y="495"/>
                  </a:lnTo>
                  <a:close/>
                  <a:moveTo>
                    <a:pt x="443" y="495"/>
                  </a:moveTo>
                  <a:cubicBezTo>
                    <a:pt x="418" y="495"/>
                    <a:pt x="418" y="495"/>
                    <a:pt x="418" y="495"/>
                  </a:cubicBezTo>
                  <a:cubicBezTo>
                    <a:pt x="418" y="384"/>
                    <a:pt x="418" y="384"/>
                    <a:pt x="418" y="384"/>
                  </a:cubicBezTo>
                  <a:cubicBezTo>
                    <a:pt x="418" y="360"/>
                    <a:pt x="399" y="341"/>
                    <a:pt x="375" y="341"/>
                  </a:cubicBezTo>
                  <a:cubicBezTo>
                    <a:pt x="304" y="341"/>
                    <a:pt x="304" y="341"/>
                    <a:pt x="304" y="341"/>
                  </a:cubicBezTo>
                  <a:cubicBezTo>
                    <a:pt x="338" y="273"/>
                    <a:pt x="338" y="273"/>
                    <a:pt x="338" y="273"/>
                  </a:cubicBezTo>
                  <a:cubicBezTo>
                    <a:pt x="396" y="276"/>
                    <a:pt x="443" y="324"/>
                    <a:pt x="443" y="384"/>
                  </a:cubicBezTo>
                  <a:lnTo>
                    <a:pt x="443" y="495"/>
                  </a:lnTo>
                  <a:close/>
                  <a:moveTo>
                    <a:pt x="443" y="495"/>
                  </a:moveTo>
                  <a:cubicBezTo>
                    <a:pt x="443" y="495"/>
                    <a:pt x="443" y="495"/>
                    <a:pt x="443" y="49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Rectangle 79">
              <a:extLst>
                <a:ext uri="{FF2B5EF4-FFF2-40B4-BE49-F238E27FC236}">
                  <a16:creationId xmlns:a16="http://schemas.microsoft.com/office/drawing/2014/main" id="{FB3BC415-6923-47CB-A92F-BAB7FDCBF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6" y="5598"/>
              <a:ext cx="38" cy="12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Rectangle 80">
              <a:extLst>
                <a:ext uri="{FF2B5EF4-FFF2-40B4-BE49-F238E27FC236}">
                  <a16:creationId xmlns:a16="http://schemas.microsoft.com/office/drawing/2014/main" id="{D7D88654-7716-487A-81AA-5D20307803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6" y="5524"/>
              <a:ext cx="38" cy="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Rectangle 81">
              <a:extLst>
                <a:ext uri="{FF2B5EF4-FFF2-40B4-BE49-F238E27FC236}">
                  <a16:creationId xmlns:a16="http://schemas.microsoft.com/office/drawing/2014/main" id="{3AE879D5-8173-4E0D-9474-C07E424B0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6" y="4858"/>
              <a:ext cx="38" cy="3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Rectangle 82">
              <a:extLst>
                <a:ext uri="{FF2B5EF4-FFF2-40B4-BE49-F238E27FC236}">
                  <a16:creationId xmlns:a16="http://schemas.microsoft.com/office/drawing/2014/main" id="{62809CE3-16C4-4613-AF2B-D59BCA6644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6" y="4934"/>
              <a:ext cx="38" cy="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Rectangle 83">
              <a:extLst>
                <a:ext uri="{FF2B5EF4-FFF2-40B4-BE49-F238E27FC236}">
                  <a16:creationId xmlns:a16="http://schemas.microsoft.com/office/drawing/2014/main" id="{31625862-846D-4832-A5A1-ED8CE3D8DD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6" y="5008"/>
              <a:ext cx="38" cy="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Rectangle 84">
              <a:extLst>
                <a:ext uri="{FF2B5EF4-FFF2-40B4-BE49-F238E27FC236}">
                  <a16:creationId xmlns:a16="http://schemas.microsoft.com/office/drawing/2014/main" id="{E98DEBD4-DF16-4987-94D7-3BB915716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1" y="5081"/>
              <a:ext cx="38" cy="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Rectangle 85">
              <a:extLst>
                <a:ext uri="{FF2B5EF4-FFF2-40B4-BE49-F238E27FC236}">
                  <a16:creationId xmlns:a16="http://schemas.microsoft.com/office/drawing/2014/main" id="{62DDE55A-9FD7-4F57-8E62-E1439213F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1" y="5155"/>
              <a:ext cx="38" cy="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Rectangle 86">
              <a:extLst>
                <a:ext uri="{FF2B5EF4-FFF2-40B4-BE49-F238E27FC236}">
                  <a16:creationId xmlns:a16="http://schemas.microsoft.com/office/drawing/2014/main" id="{99A9F315-9363-480B-A0FF-CB0337286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1" y="5228"/>
              <a:ext cx="38" cy="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95DB733D-4977-4D52-B56D-3F4B549E0100}"/>
              </a:ext>
            </a:extLst>
          </p:cNvPr>
          <p:cNvGrpSpPr/>
          <p:nvPr/>
        </p:nvGrpSpPr>
        <p:grpSpPr>
          <a:xfrm rot="5400000">
            <a:off x="5923526" y="5725906"/>
            <a:ext cx="584092" cy="584092"/>
            <a:chOff x="5125249" y="5746282"/>
            <a:chExt cx="398943" cy="398943"/>
          </a:xfrm>
        </p:grpSpPr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332A49EC-9ADD-43E9-9428-80DEEBC26266}"/>
                </a:ext>
              </a:extLst>
            </p:cNvPr>
            <p:cNvCxnSpPr>
              <a:cxnSpLocks/>
            </p:cNvCxnSpPr>
            <p:nvPr/>
          </p:nvCxnSpPr>
          <p:spPr>
            <a:xfrm>
              <a:off x="5324720" y="5746282"/>
              <a:ext cx="0" cy="9731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AB81BF5E-331C-4878-8D3B-F45ECD892BF8}"/>
                </a:ext>
              </a:extLst>
            </p:cNvPr>
            <p:cNvCxnSpPr>
              <a:cxnSpLocks/>
            </p:cNvCxnSpPr>
            <p:nvPr/>
          </p:nvCxnSpPr>
          <p:spPr>
            <a:xfrm>
              <a:off x="5324720" y="6047907"/>
              <a:ext cx="0" cy="9731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954147BF-096A-4672-974C-926590BBDC3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475533" y="5897095"/>
              <a:ext cx="0" cy="9731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687A2E01-C053-4E1C-BD8A-3B272522712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173908" y="5897095"/>
              <a:ext cx="0" cy="9731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C7B7D694-1F19-405E-914E-9CA3569B47AD}"/>
                </a:ext>
              </a:extLst>
            </p:cNvPr>
            <p:cNvCxnSpPr>
              <a:cxnSpLocks/>
            </p:cNvCxnSpPr>
            <p:nvPr/>
          </p:nvCxnSpPr>
          <p:spPr>
            <a:xfrm rot="2733160">
              <a:off x="5436868" y="5785877"/>
              <a:ext cx="0" cy="9731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1DF5D175-D2A9-44FF-8F8D-FF46E35C5C1F}"/>
                </a:ext>
              </a:extLst>
            </p:cNvPr>
            <p:cNvCxnSpPr>
              <a:cxnSpLocks/>
            </p:cNvCxnSpPr>
            <p:nvPr/>
          </p:nvCxnSpPr>
          <p:spPr>
            <a:xfrm rot="8133160">
              <a:off x="5424443" y="6008301"/>
              <a:ext cx="0" cy="9731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518C1BE0-F999-4DB2-A325-D818B85B0ED5}"/>
                </a:ext>
              </a:extLst>
            </p:cNvPr>
            <p:cNvCxnSpPr>
              <a:cxnSpLocks/>
            </p:cNvCxnSpPr>
            <p:nvPr/>
          </p:nvCxnSpPr>
          <p:spPr>
            <a:xfrm rot="8133160">
              <a:off x="5213230" y="5792973"/>
              <a:ext cx="0" cy="9731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1E8CFD2D-8AB4-4AD3-959F-9DB5264F40AA}"/>
              </a:ext>
            </a:extLst>
          </p:cNvPr>
          <p:cNvCxnSpPr>
            <a:cxnSpLocks/>
          </p:cNvCxnSpPr>
          <p:nvPr/>
        </p:nvCxnSpPr>
        <p:spPr>
          <a:xfrm>
            <a:off x="6706909" y="6216160"/>
            <a:ext cx="5217750" cy="0"/>
          </a:xfrm>
          <a:prstGeom prst="line">
            <a:avLst/>
          </a:prstGeom>
          <a:gradFill>
            <a:gsLst>
              <a:gs pos="93000">
                <a:schemeClr val="tx1">
                  <a:alpha val="50000"/>
                </a:schemeClr>
              </a:gs>
              <a:gs pos="37000">
                <a:schemeClr val="accent3">
                  <a:lumMod val="75000"/>
                </a:schemeClr>
              </a:gs>
            </a:gsLst>
            <a:lin ang="5400000" scaled="1"/>
          </a:gradFill>
          <a:ln w="19050" algn="ctr">
            <a:gradFill flip="none" rotWithShape="1">
              <a:gsLst>
                <a:gs pos="87000">
                  <a:schemeClr val="tx1"/>
                </a:gs>
                <a:gs pos="45000">
                  <a:srgbClr val="00A3E0"/>
                </a:gs>
              </a:gsLst>
              <a:lin ang="0" scaled="1"/>
              <a:tileRect/>
            </a:gradFill>
            <a:miter lim="800000"/>
            <a:headEnd/>
            <a:tailEnd type="none" w="lg" len="lg"/>
          </a:ln>
        </p:spPr>
      </p:cxnSp>
      <p:grpSp>
        <p:nvGrpSpPr>
          <p:cNvPr id="4" name="Group 4">
            <a:extLst>
              <a:ext uri="{FF2B5EF4-FFF2-40B4-BE49-F238E27FC236}">
                <a16:creationId xmlns:a16="http://schemas.microsoft.com/office/drawing/2014/main" id="{C217140D-72AA-4321-8210-1F681B4DA1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15582" y="3782850"/>
            <a:ext cx="634055" cy="559950"/>
            <a:chOff x="2686" y="4998"/>
            <a:chExt cx="1523" cy="1345"/>
          </a:xfrm>
          <a:solidFill>
            <a:srgbClr val="00A3E0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372B270B-6C61-4773-B8A0-DC50A87532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4998"/>
              <a:ext cx="1523" cy="1345"/>
            </a:xfrm>
            <a:custGeom>
              <a:avLst/>
              <a:gdLst>
                <a:gd name="T0" fmla="*/ 640 w 683"/>
                <a:gd name="T1" fmla="*/ 156 h 622"/>
                <a:gd name="T2" fmla="*/ 407 w 683"/>
                <a:gd name="T3" fmla="*/ 86 h 622"/>
                <a:gd name="T4" fmla="*/ 342 w 683"/>
                <a:gd name="T5" fmla="*/ 34 h 622"/>
                <a:gd name="T6" fmla="*/ 276 w 683"/>
                <a:gd name="T7" fmla="*/ 86 h 622"/>
                <a:gd name="T8" fmla="*/ 107 w 683"/>
                <a:gd name="T9" fmla="*/ 92 h 622"/>
                <a:gd name="T10" fmla="*/ 54 w 683"/>
                <a:gd name="T11" fmla="*/ 413 h 622"/>
                <a:gd name="T12" fmla="*/ 107 w 683"/>
                <a:gd name="T13" fmla="*/ 112 h 622"/>
                <a:gd name="T14" fmla="*/ 259 w 683"/>
                <a:gd name="T15" fmla="*/ 132 h 622"/>
                <a:gd name="T16" fmla="*/ 84 w 683"/>
                <a:gd name="T17" fmla="*/ 156 h 622"/>
                <a:gd name="T18" fmla="*/ 181 w 683"/>
                <a:gd name="T19" fmla="*/ 495 h 622"/>
                <a:gd name="T20" fmla="*/ 64 w 683"/>
                <a:gd name="T21" fmla="*/ 516 h 622"/>
                <a:gd name="T22" fmla="*/ 44 w 683"/>
                <a:gd name="T23" fmla="*/ 437 h 622"/>
                <a:gd name="T24" fmla="*/ 0 w 683"/>
                <a:gd name="T25" fmla="*/ 526 h 622"/>
                <a:gd name="T26" fmla="*/ 601 w 683"/>
                <a:gd name="T27" fmla="*/ 622 h 622"/>
                <a:gd name="T28" fmla="*/ 673 w 683"/>
                <a:gd name="T29" fmla="*/ 516 h 622"/>
                <a:gd name="T30" fmla="*/ 472 w 683"/>
                <a:gd name="T31" fmla="*/ 516 h 622"/>
                <a:gd name="T32" fmla="*/ 589 w 683"/>
                <a:gd name="T33" fmla="*/ 495 h 622"/>
                <a:gd name="T34" fmla="*/ 576 w 683"/>
                <a:gd name="T35" fmla="*/ 133 h 622"/>
                <a:gd name="T36" fmla="*/ 432 w 683"/>
                <a:gd name="T37" fmla="*/ 114 h 622"/>
                <a:gd name="T38" fmla="*/ 619 w 683"/>
                <a:gd name="T39" fmla="*/ 156 h 622"/>
                <a:gd name="T40" fmla="*/ 303 w 683"/>
                <a:gd name="T41" fmla="*/ 556 h 622"/>
                <a:gd name="T42" fmla="*/ 286 w 683"/>
                <a:gd name="T43" fmla="*/ 24 h 622"/>
                <a:gd name="T44" fmla="*/ 342 w 683"/>
                <a:gd name="T45" fmla="*/ 61 h 622"/>
                <a:gd name="T46" fmla="*/ 391 w 683"/>
                <a:gd name="T47" fmla="*/ 21 h 622"/>
                <a:gd name="T48" fmla="*/ 299 w 683"/>
                <a:gd name="T49" fmla="*/ 86 h 622"/>
                <a:gd name="T50" fmla="*/ 404 w 683"/>
                <a:gd name="T51" fmla="*/ 107 h 622"/>
                <a:gd name="T52" fmla="*/ 279 w 683"/>
                <a:gd name="T53" fmla="*/ 121 h 622"/>
                <a:gd name="T54" fmla="*/ 104 w 683"/>
                <a:gd name="T55" fmla="*/ 156 h 622"/>
                <a:gd name="T56" fmla="*/ 180 w 683"/>
                <a:gd name="T57" fmla="*/ 217 h 622"/>
                <a:gd name="T58" fmla="*/ 104 w 683"/>
                <a:gd name="T59" fmla="*/ 475 h 622"/>
                <a:gd name="T60" fmla="*/ 198 w 683"/>
                <a:gd name="T61" fmla="*/ 226 h 622"/>
                <a:gd name="T62" fmla="*/ 461 w 683"/>
                <a:gd name="T63" fmla="*/ 191 h 622"/>
                <a:gd name="T64" fmla="*/ 477 w 683"/>
                <a:gd name="T65" fmla="*/ 178 h 622"/>
                <a:gd name="T66" fmla="*/ 579 w 683"/>
                <a:gd name="T67" fmla="*/ 156 h 622"/>
                <a:gd name="T68" fmla="*/ 543 w 683"/>
                <a:gd name="T69" fmla="*/ 374 h 622"/>
                <a:gd name="T70" fmla="*/ 479 w 683"/>
                <a:gd name="T71" fmla="*/ 216 h 622"/>
                <a:gd name="T72" fmla="*/ 342 w 683"/>
                <a:gd name="T73" fmla="*/ 515 h 622"/>
                <a:gd name="T74" fmla="*/ 663 w 683"/>
                <a:gd name="T75" fmla="*/ 540 h 622"/>
                <a:gd name="T76" fmla="*/ 21 w 683"/>
                <a:gd name="T77" fmla="*/ 540 h 622"/>
                <a:gd name="T78" fmla="*/ 303 w 683"/>
                <a:gd name="T79" fmla="*/ 577 h 622"/>
                <a:gd name="T80" fmla="*/ 630 w 683"/>
                <a:gd name="T81" fmla="*/ 536 h 622"/>
                <a:gd name="T82" fmla="*/ 663 w 683"/>
                <a:gd name="T83" fmla="*/ 54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83" h="622">
                  <a:moveTo>
                    <a:pt x="673" y="516"/>
                  </a:moveTo>
                  <a:cubicBezTo>
                    <a:pt x="640" y="516"/>
                    <a:pt x="640" y="516"/>
                    <a:pt x="640" y="516"/>
                  </a:cubicBezTo>
                  <a:cubicBezTo>
                    <a:pt x="640" y="156"/>
                    <a:pt x="640" y="156"/>
                    <a:pt x="640" y="156"/>
                  </a:cubicBezTo>
                  <a:cubicBezTo>
                    <a:pt x="640" y="120"/>
                    <a:pt x="611" y="92"/>
                    <a:pt x="576" y="92"/>
                  </a:cubicBezTo>
                  <a:cubicBezTo>
                    <a:pt x="421" y="92"/>
                    <a:pt x="421" y="92"/>
                    <a:pt x="421" y="92"/>
                  </a:cubicBezTo>
                  <a:cubicBezTo>
                    <a:pt x="417" y="89"/>
                    <a:pt x="412" y="87"/>
                    <a:pt x="407" y="86"/>
                  </a:cubicBezTo>
                  <a:cubicBezTo>
                    <a:pt x="424" y="49"/>
                    <a:pt x="425" y="23"/>
                    <a:pt x="412" y="9"/>
                  </a:cubicBezTo>
                  <a:cubicBezTo>
                    <a:pt x="406" y="3"/>
                    <a:pt x="398" y="0"/>
                    <a:pt x="390" y="1"/>
                  </a:cubicBezTo>
                  <a:cubicBezTo>
                    <a:pt x="371" y="3"/>
                    <a:pt x="352" y="22"/>
                    <a:pt x="342" y="34"/>
                  </a:cubicBezTo>
                  <a:cubicBezTo>
                    <a:pt x="331" y="22"/>
                    <a:pt x="312" y="3"/>
                    <a:pt x="294" y="1"/>
                  </a:cubicBezTo>
                  <a:cubicBezTo>
                    <a:pt x="285" y="0"/>
                    <a:pt x="278" y="3"/>
                    <a:pt x="272" y="9"/>
                  </a:cubicBezTo>
                  <a:cubicBezTo>
                    <a:pt x="258" y="23"/>
                    <a:pt x="260" y="49"/>
                    <a:pt x="276" y="86"/>
                  </a:cubicBezTo>
                  <a:cubicBezTo>
                    <a:pt x="271" y="87"/>
                    <a:pt x="266" y="89"/>
                    <a:pt x="262" y="92"/>
                  </a:cubicBezTo>
                  <a:cubicBezTo>
                    <a:pt x="262" y="92"/>
                    <a:pt x="262" y="92"/>
                    <a:pt x="262" y="92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72" y="92"/>
                    <a:pt x="44" y="120"/>
                    <a:pt x="44" y="156"/>
                  </a:cubicBezTo>
                  <a:cubicBezTo>
                    <a:pt x="44" y="403"/>
                    <a:pt x="44" y="403"/>
                    <a:pt x="44" y="403"/>
                  </a:cubicBezTo>
                  <a:cubicBezTo>
                    <a:pt x="44" y="409"/>
                    <a:pt x="48" y="413"/>
                    <a:pt x="54" y="413"/>
                  </a:cubicBezTo>
                  <a:cubicBezTo>
                    <a:pt x="59" y="413"/>
                    <a:pt x="64" y="409"/>
                    <a:pt x="64" y="403"/>
                  </a:cubicBezTo>
                  <a:cubicBezTo>
                    <a:pt x="64" y="156"/>
                    <a:pt x="64" y="156"/>
                    <a:pt x="64" y="156"/>
                  </a:cubicBezTo>
                  <a:cubicBezTo>
                    <a:pt x="64" y="132"/>
                    <a:pt x="83" y="112"/>
                    <a:pt x="107" y="112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2" y="113"/>
                    <a:pt x="252" y="113"/>
                    <a:pt x="252" y="114"/>
                  </a:cubicBezTo>
                  <a:cubicBezTo>
                    <a:pt x="252" y="121"/>
                    <a:pt x="255" y="127"/>
                    <a:pt x="259" y="132"/>
                  </a:cubicBezTo>
                  <a:cubicBezTo>
                    <a:pt x="259" y="132"/>
                    <a:pt x="259" y="132"/>
                    <a:pt x="258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94" y="133"/>
                    <a:pt x="84" y="143"/>
                    <a:pt x="84" y="156"/>
                  </a:cubicBezTo>
                  <a:cubicBezTo>
                    <a:pt x="84" y="485"/>
                    <a:pt x="84" y="485"/>
                    <a:pt x="84" y="485"/>
                  </a:cubicBezTo>
                  <a:cubicBezTo>
                    <a:pt x="84" y="491"/>
                    <a:pt x="89" y="495"/>
                    <a:pt x="94" y="495"/>
                  </a:cubicBezTo>
                  <a:cubicBezTo>
                    <a:pt x="181" y="495"/>
                    <a:pt x="181" y="495"/>
                    <a:pt x="181" y="495"/>
                  </a:cubicBezTo>
                  <a:cubicBezTo>
                    <a:pt x="187" y="501"/>
                    <a:pt x="194" y="506"/>
                    <a:pt x="202" y="511"/>
                  </a:cubicBezTo>
                  <a:cubicBezTo>
                    <a:pt x="205" y="513"/>
                    <a:pt x="208" y="514"/>
                    <a:pt x="211" y="516"/>
                  </a:cubicBezTo>
                  <a:cubicBezTo>
                    <a:pt x="64" y="516"/>
                    <a:pt x="64" y="516"/>
                    <a:pt x="64" y="516"/>
                  </a:cubicBezTo>
                  <a:cubicBezTo>
                    <a:pt x="64" y="437"/>
                    <a:pt x="64" y="437"/>
                    <a:pt x="64" y="437"/>
                  </a:cubicBezTo>
                  <a:cubicBezTo>
                    <a:pt x="64" y="431"/>
                    <a:pt x="59" y="427"/>
                    <a:pt x="54" y="427"/>
                  </a:cubicBezTo>
                  <a:cubicBezTo>
                    <a:pt x="48" y="427"/>
                    <a:pt x="44" y="431"/>
                    <a:pt x="44" y="437"/>
                  </a:cubicBezTo>
                  <a:cubicBezTo>
                    <a:pt x="44" y="516"/>
                    <a:pt x="44" y="516"/>
                    <a:pt x="44" y="516"/>
                  </a:cubicBezTo>
                  <a:cubicBezTo>
                    <a:pt x="10" y="516"/>
                    <a:pt x="10" y="516"/>
                    <a:pt x="10" y="516"/>
                  </a:cubicBezTo>
                  <a:cubicBezTo>
                    <a:pt x="5" y="516"/>
                    <a:pt x="0" y="520"/>
                    <a:pt x="0" y="526"/>
                  </a:cubicBezTo>
                  <a:cubicBezTo>
                    <a:pt x="0" y="540"/>
                    <a:pt x="0" y="540"/>
                    <a:pt x="0" y="540"/>
                  </a:cubicBezTo>
                  <a:cubicBezTo>
                    <a:pt x="0" y="585"/>
                    <a:pt x="37" y="622"/>
                    <a:pt x="82" y="622"/>
                  </a:cubicBezTo>
                  <a:cubicBezTo>
                    <a:pt x="601" y="622"/>
                    <a:pt x="601" y="622"/>
                    <a:pt x="601" y="622"/>
                  </a:cubicBezTo>
                  <a:cubicBezTo>
                    <a:pt x="646" y="622"/>
                    <a:pt x="683" y="585"/>
                    <a:pt x="683" y="540"/>
                  </a:cubicBezTo>
                  <a:cubicBezTo>
                    <a:pt x="683" y="526"/>
                    <a:pt x="683" y="526"/>
                    <a:pt x="683" y="526"/>
                  </a:cubicBezTo>
                  <a:cubicBezTo>
                    <a:pt x="683" y="520"/>
                    <a:pt x="678" y="516"/>
                    <a:pt x="673" y="516"/>
                  </a:cubicBezTo>
                  <a:close/>
                  <a:moveTo>
                    <a:pt x="619" y="156"/>
                  </a:moveTo>
                  <a:cubicBezTo>
                    <a:pt x="619" y="516"/>
                    <a:pt x="619" y="516"/>
                    <a:pt x="619" y="516"/>
                  </a:cubicBezTo>
                  <a:cubicBezTo>
                    <a:pt x="472" y="516"/>
                    <a:pt x="472" y="516"/>
                    <a:pt x="472" y="516"/>
                  </a:cubicBezTo>
                  <a:cubicBezTo>
                    <a:pt x="476" y="514"/>
                    <a:pt x="479" y="513"/>
                    <a:pt x="482" y="511"/>
                  </a:cubicBezTo>
                  <a:cubicBezTo>
                    <a:pt x="489" y="506"/>
                    <a:pt x="496" y="501"/>
                    <a:pt x="502" y="495"/>
                  </a:cubicBezTo>
                  <a:cubicBezTo>
                    <a:pt x="589" y="495"/>
                    <a:pt x="589" y="495"/>
                    <a:pt x="589" y="495"/>
                  </a:cubicBezTo>
                  <a:cubicBezTo>
                    <a:pt x="595" y="495"/>
                    <a:pt x="599" y="491"/>
                    <a:pt x="599" y="485"/>
                  </a:cubicBezTo>
                  <a:cubicBezTo>
                    <a:pt x="599" y="156"/>
                    <a:pt x="599" y="156"/>
                    <a:pt x="599" y="156"/>
                  </a:cubicBezTo>
                  <a:cubicBezTo>
                    <a:pt x="599" y="143"/>
                    <a:pt x="589" y="133"/>
                    <a:pt x="576" y="133"/>
                  </a:cubicBezTo>
                  <a:cubicBezTo>
                    <a:pt x="425" y="133"/>
                    <a:pt x="425" y="133"/>
                    <a:pt x="425" y="133"/>
                  </a:cubicBezTo>
                  <a:cubicBezTo>
                    <a:pt x="425" y="132"/>
                    <a:pt x="424" y="132"/>
                    <a:pt x="424" y="132"/>
                  </a:cubicBezTo>
                  <a:cubicBezTo>
                    <a:pt x="429" y="127"/>
                    <a:pt x="432" y="121"/>
                    <a:pt x="432" y="114"/>
                  </a:cubicBezTo>
                  <a:cubicBezTo>
                    <a:pt x="432" y="113"/>
                    <a:pt x="431" y="113"/>
                    <a:pt x="431" y="112"/>
                  </a:cubicBezTo>
                  <a:cubicBezTo>
                    <a:pt x="576" y="112"/>
                    <a:pt x="576" y="112"/>
                    <a:pt x="576" y="112"/>
                  </a:cubicBezTo>
                  <a:cubicBezTo>
                    <a:pt x="600" y="112"/>
                    <a:pt x="619" y="132"/>
                    <a:pt x="619" y="156"/>
                  </a:cubicBezTo>
                  <a:close/>
                  <a:moveTo>
                    <a:pt x="403" y="536"/>
                  </a:moveTo>
                  <a:cubicBezTo>
                    <a:pt x="402" y="547"/>
                    <a:pt x="392" y="556"/>
                    <a:pt x="380" y="556"/>
                  </a:cubicBezTo>
                  <a:cubicBezTo>
                    <a:pt x="303" y="556"/>
                    <a:pt x="303" y="556"/>
                    <a:pt x="303" y="556"/>
                  </a:cubicBezTo>
                  <a:cubicBezTo>
                    <a:pt x="292" y="556"/>
                    <a:pt x="282" y="547"/>
                    <a:pt x="280" y="536"/>
                  </a:cubicBezTo>
                  <a:lnTo>
                    <a:pt x="403" y="536"/>
                  </a:lnTo>
                  <a:close/>
                  <a:moveTo>
                    <a:pt x="286" y="24"/>
                  </a:moveTo>
                  <a:cubicBezTo>
                    <a:pt x="288" y="22"/>
                    <a:pt x="290" y="21"/>
                    <a:pt x="292" y="21"/>
                  </a:cubicBezTo>
                  <a:cubicBezTo>
                    <a:pt x="304" y="22"/>
                    <a:pt x="323" y="43"/>
                    <a:pt x="333" y="57"/>
                  </a:cubicBezTo>
                  <a:cubicBezTo>
                    <a:pt x="335" y="59"/>
                    <a:pt x="338" y="61"/>
                    <a:pt x="342" y="61"/>
                  </a:cubicBezTo>
                  <a:cubicBezTo>
                    <a:pt x="342" y="61"/>
                    <a:pt x="342" y="61"/>
                    <a:pt x="342" y="61"/>
                  </a:cubicBezTo>
                  <a:cubicBezTo>
                    <a:pt x="345" y="61"/>
                    <a:pt x="348" y="59"/>
                    <a:pt x="350" y="57"/>
                  </a:cubicBezTo>
                  <a:cubicBezTo>
                    <a:pt x="360" y="43"/>
                    <a:pt x="379" y="22"/>
                    <a:pt x="391" y="21"/>
                  </a:cubicBezTo>
                  <a:cubicBezTo>
                    <a:pt x="394" y="21"/>
                    <a:pt x="395" y="22"/>
                    <a:pt x="397" y="24"/>
                  </a:cubicBezTo>
                  <a:cubicBezTo>
                    <a:pt x="403" y="29"/>
                    <a:pt x="403" y="49"/>
                    <a:pt x="385" y="86"/>
                  </a:cubicBezTo>
                  <a:cubicBezTo>
                    <a:pt x="299" y="86"/>
                    <a:pt x="299" y="86"/>
                    <a:pt x="299" y="86"/>
                  </a:cubicBezTo>
                  <a:cubicBezTo>
                    <a:pt x="281" y="49"/>
                    <a:pt x="280" y="29"/>
                    <a:pt x="286" y="24"/>
                  </a:cubicBezTo>
                  <a:close/>
                  <a:moveTo>
                    <a:pt x="279" y="107"/>
                  </a:moveTo>
                  <a:cubicBezTo>
                    <a:pt x="404" y="107"/>
                    <a:pt x="404" y="107"/>
                    <a:pt x="404" y="107"/>
                  </a:cubicBezTo>
                  <a:cubicBezTo>
                    <a:pt x="408" y="107"/>
                    <a:pt x="411" y="110"/>
                    <a:pt x="411" y="114"/>
                  </a:cubicBezTo>
                  <a:cubicBezTo>
                    <a:pt x="411" y="117"/>
                    <a:pt x="408" y="121"/>
                    <a:pt x="404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75" y="121"/>
                    <a:pt x="272" y="117"/>
                    <a:pt x="272" y="114"/>
                  </a:cubicBezTo>
                  <a:cubicBezTo>
                    <a:pt x="272" y="110"/>
                    <a:pt x="275" y="107"/>
                    <a:pt x="279" y="107"/>
                  </a:cubicBezTo>
                  <a:close/>
                  <a:moveTo>
                    <a:pt x="104" y="156"/>
                  </a:moveTo>
                  <a:cubicBezTo>
                    <a:pt x="104" y="154"/>
                    <a:pt x="106" y="153"/>
                    <a:pt x="107" y="153"/>
                  </a:cubicBezTo>
                  <a:cubicBezTo>
                    <a:pt x="231" y="153"/>
                    <a:pt x="231" y="153"/>
                    <a:pt x="231" y="153"/>
                  </a:cubicBezTo>
                  <a:cubicBezTo>
                    <a:pt x="211" y="170"/>
                    <a:pt x="194" y="191"/>
                    <a:pt x="180" y="217"/>
                  </a:cubicBezTo>
                  <a:cubicBezTo>
                    <a:pt x="154" y="262"/>
                    <a:pt x="141" y="317"/>
                    <a:pt x="141" y="374"/>
                  </a:cubicBezTo>
                  <a:cubicBezTo>
                    <a:pt x="141" y="416"/>
                    <a:pt x="149" y="450"/>
                    <a:pt x="165" y="475"/>
                  </a:cubicBezTo>
                  <a:cubicBezTo>
                    <a:pt x="104" y="475"/>
                    <a:pt x="104" y="475"/>
                    <a:pt x="104" y="475"/>
                  </a:cubicBezTo>
                  <a:lnTo>
                    <a:pt x="104" y="156"/>
                  </a:lnTo>
                  <a:close/>
                  <a:moveTo>
                    <a:pt x="161" y="374"/>
                  </a:moveTo>
                  <a:cubicBezTo>
                    <a:pt x="161" y="320"/>
                    <a:pt x="174" y="269"/>
                    <a:pt x="198" y="226"/>
                  </a:cubicBezTo>
                  <a:cubicBezTo>
                    <a:pt x="220" y="186"/>
                    <a:pt x="251" y="156"/>
                    <a:pt x="287" y="141"/>
                  </a:cubicBezTo>
                  <a:cubicBezTo>
                    <a:pt x="397" y="141"/>
                    <a:pt x="397" y="141"/>
                    <a:pt x="397" y="141"/>
                  </a:cubicBezTo>
                  <a:cubicBezTo>
                    <a:pt x="421" y="151"/>
                    <a:pt x="442" y="168"/>
                    <a:pt x="461" y="191"/>
                  </a:cubicBezTo>
                  <a:cubicBezTo>
                    <a:pt x="463" y="193"/>
                    <a:pt x="466" y="194"/>
                    <a:pt x="469" y="194"/>
                  </a:cubicBezTo>
                  <a:cubicBezTo>
                    <a:pt x="471" y="194"/>
                    <a:pt x="474" y="194"/>
                    <a:pt x="476" y="192"/>
                  </a:cubicBezTo>
                  <a:cubicBezTo>
                    <a:pt x="480" y="188"/>
                    <a:pt x="481" y="182"/>
                    <a:pt x="477" y="178"/>
                  </a:cubicBezTo>
                  <a:cubicBezTo>
                    <a:pt x="469" y="169"/>
                    <a:pt x="461" y="160"/>
                    <a:pt x="453" y="153"/>
                  </a:cubicBezTo>
                  <a:cubicBezTo>
                    <a:pt x="576" y="153"/>
                    <a:pt x="576" y="153"/>
                    <a:pt x="576" y="153"/>
                  </a:cubicBezTo>
                  <a:cubicBezTo>
                    <a:pt x="578" y="153"/>
                    <a:pt x="579" y="154"/>
                    <a:pt x="579" y="156"/>
                  </a:cubicBezTo>
                  <a:cubicBezTo>
                    <a:pt x="579" y="475"/>
                    <a:pt x="579" y="475"/>
                    <a:pt x="579" y="475"/>
                  </a:cubicBezTo>
                  <a:cubicBezTo>
                    <a:pt x="519" y="475"/>
                    <a:pt x="519" y="475"/>
                    <a:pt x="519" y="475"/>
                  </a:cubicBezTo>
                  <a:cubicBezTo>
                    <a:pt x="535" y="450"/>
                    <a:pt x="543" y="416"/>
                    <a:pt x="543" y="374"/>
                  </a:cubicBezTo>
                  <a:cubicBezTo>
                    <a:pt x="543" y="312"/>
                    <a:pt x="526" y="252"/>
                    <a:pt x="496" y="205"/>
                  </a:cubicBezTo>
                  <a:cubicBezTo>
                    <a:pt x="493" y="200"/>
                    <a:pt x="487" y="199"/>
                    <a:pt x="482" y="202"/>
                  </a:cubicBezTo>
                  <a:cubicBezTo>
                    <a:pt x="478" y="205"/>
                    <a:pt x="476" y="211"/>
                    <a:pt x="479" y="216"/>
                  </a:cubicBezTo>
                  <a:cubicBezTo>
                    <a:pt x="507" y="260"/>
                    <a:pt x="522" y="316"/>
                    <a:pt x="522" y="374"/>
                  </a:cubicBezTo>
                  <a:cubicBezTo>
                    <a:pt x="522" y="435"/>
                    <a:pt x="506" y="473"/>
                    <a:pt x="471" y="493"/>
                  </a:cubicBezTo>
                  <a:cubicBezTo>
                    <a:pt x="449" y="506"/>
                    <a:pt x="419" y="515"/>
                    <a:pt x="342" y="515"/>
                  </a:cubicBezTo>
                  <a:cubicBezTo>
                    <a:pt x="286" y="515"/>
                    <a:pt x="243" y="511"/>
                    <a:pt x="212" y="493"/>
                  </a:cubicBezTo>
                  <a:cubicBezTo>
                    <a:pt x="177" y="473"/>
                    <a:pt x="161" y="435"/>
                    <a:pt x="161" y="374"/>
                  </a:cubicBezTo>
                  <a:close/>
                  <a:moveTo>
                    <a:pt x="663" y="540"/>
                  </a:moveTo>
                  <a:cubicBezTo>
                    <a:pt x="663" y="574"/>
                    <a:pt x="635" y="602"/>
                    <a:pt x="601" y="602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48" y="602"/>
                    <a:pt x="21" y="574"/>
                    <a:pt x="21" y="540"/>
                  </a:cubicBezTo>
                  <a:cubicBezTo>
                    <a:pt x="21" y="536"/>
                    <a:pt x="21" y="536"/>
                    <a:pt x="21" y="536"/>
                  </a:cubicBezTo>
                  <a:cubicBezTo>
                    <a:pt x="260" y="536"/>
                    <a:pt x="260" y="536"/>
                    <a:pt x="260" y="536"/>
                  </a:cubicBezTo>
                  <a:cubicBezTo>
                    <a:pt x="261" y="559"/>
                    <a:pt x="280" y="577"/>
                    <a:pt x="303" y="577"/>
                  </a:cubicBezTo>
                  <a:cubicBezTo>
                    <a:pt x="380" y="577"/>
                    <a:pt x="380" y="577"/>
                    <a:pt x="380" y="577"/>
                  </a:cubicBezTo>
                  <a:cubicBezTo>
                    <a:pt x="403" y="577"/>
                    <a:pt x="422" y="559"/>
                    <a:pt x="424" y="536"/>
                  </a:cubicBezTo>
                  <a:cubicBezTo>
                    <a:pt x="630" y="536"/>
                    <a:pt x="630" y="536"/>
                    <a:pt x="630" y="536"/>
                  </a:cubicBezTo>
                  <a:cubicBezTo>
                    <a:pt x="630" y="536"/>
                    <a:pt x="630" y="536"/>
                    <a:pt x="630" y="536"/>
                  </a:cubicBezTo>
                  <a:cubicBezTo>
                    <a:pt x="663" y="536"/>
                    <a:pt x="663" y="536"/>
                    <a:pt x="663" y="536"/>
                  </a:cubicBezTo>
                  <a:lnTo>
                    <a:pt x="663" y="540"/>
                  </a:lnTo>
                  <a:close/>
                  <a:moveTo>
                    <a:pt x="663" y="540"/>
                  </a:moveTo>
                  <a:cubicBezTo>
                    <a:pt x="663" y="540"/>
                    <a:pt x="663" y="540"/>
                    <a:pt x="663" y="5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C44373D8-518A-4CAD-A641-30353E471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2" y="5467"/>
              <a:ext cx="252" cy="504"/>
            </a:xfrm>
            <a:custGeom>
              <a:avLst/>
              <a:gdLst>
                <a:gd name="T0" fmla="*/ 50 w 113"/>
                <a:gd name="T1" fmla="*/ 209 h 233"/>
                <a:gd name="T2" fmla="*/ 50 w 113"/>
                <a:gd name="T3" fmla="*/ 223 h 233"/>
                <a:gd name="T4" fmla="*/ 60 w 113"/>
                <a:gd name="T5" fmla="*/ 233 h 233"/>
                <a:gd name="T6" fmla="*/ 70 w 113"/>
                <a:gd name="T7" fmla="*/ 223 h 233"/>
                <a:gd name="T8" fmla="*/ 70 w 113"/>
                <a:gd name="T9" fmla="*/ 208 h 233"/>
                <a:gd name="T10" fmla="*/ 100 w 113"/>
                <a:gd name="T11" fmla="*/ 193 h 233"/>
                <a:gd name="T12" fmla="*/ 113 w 113"/>
                <a:gd name="T13" fmla="*/ 156 h 233"/>
                <a:gd name="T14" fmla="*/ 100 w 113"/>
                <a:gd name="T15" fmla="*/ 120 h 233"/>
                <a:gd name="T16" fmla="*/ 70 w 113"/>
                <a:gd name="T17" fmla="*/ 102 h 233"/>
                <a:gd name="T18" fmla="*/ 70 w 113"/>
                <a:gd name="T19" fmla="*/ 43 h 233"/>
                <a:gd name="T20" fmla="*/ 91 w 113"/>
                <a:gd name="T21" fmla="*/ 50 h 233"/>
                <a:gd name="T22" fmla="*/ 99 w 113"/>
                <a:gd name="T23" fmla="*/ 52 h 233"/>
                <a:gd name="T24" fmla="*/ 108 w 113"/>
                <a:gd name="T25" fmla="*/ 40 h 233"/>
                <a:gd name="T26" fmla="*/ 94 w 113"/>
                <a:gd name="T27" fmla="*/ 27 h 233"/>
                <a:gd name="T28" fmla="*/ 70 w 113"/>
                <a:gd name="T29" fmla="*/ 23 h 233"/>
                <a:gd name="T30" fmla="*/ 70 w 113"/>
                <a:gd name="T31" fmla="*/ 10 h 233"/>
                <a:gd name="T32" fmla="*/ 60 w 113"/>
                <a:gd name="T33" fmla="*/ 0 h 233"/>
                <a:gd name="T34" fmla="*/ 50 w 113"/>
                <a:gd name="T35" fmla="*/ 10 h 233"/>
                <a:gd name="T36" fmla="*/ 50 w 113"/>
                <a:gd name="T37" fmla="*/ 23 h 233"/>
                <a:gd name="T38" fmla="*/ 20 w 113"/>
                <a:gd name="T39" fmla="*/ 35 h 233"/>
                <a:gd name="T40" fmla="*/ 5 w 113"/>
                <a:gd name="T41" fmla="*/ 70 h 233"/>
                <a:gd name="T42" fmla="*/ 20 w 113"/>
                <a:gd name="T43" fmla="*/ 104 h 233"/>
                <a:gd name="T44" fmla="*/ 50 w 113"/>
                <a:gd name="T45" fmla="*/ 119 h 233"/>
                <a:gd name="T46" fmla="*/ 50 w 113"/>
                <a:gd name="T47" fmla="*/ 188 h 233"/>
                <a:gd name="T48" fmla="*/ 18 w 113"/>
                <a:gd name="T49" fmla="*/ 173 h 233"/>
                <a:gd name="T50" fmla="*/ 10 w 113"/>
                <a:gd name="T51" fmla="*/ 167 h 233"/>
                <a:gd name="T52" fmla="*/ 0 w 113"/>
                <a:gd name="T53" fmla="*/ 180 h 233"/>
                <a:gd name="T54" fmla="*/ 50 w 113"/>
                <a:gd name="T55" fmla="*/ 209 h 233"/>
                <a:gd name="T56" fmla="*/ 27 w 113"/>
                <a:gd name="T57" fmla="*/ 67 h 233"/>
                <a:gd name="T58" fmla="*/ 34 w 113"/>
                <a:gd name="T59" fmla="*/ 50 h 233"/>
                <a:gd name="T60" fmla="*/ 50 w 113"/>
                <a:gd name="T61" fmla="*/ 44 h 233"/>
                <a:gd name="T62" fmla="*/ 50 w 113"/>
                <a:gd name="T63" fmla="*/ 95 h 233"/>
                <a:gd name="T64" fmla="*/ 27 w 113"/>
                <a:gd name="T65" fmla="*/ 67 h 233"/>
                <a:gd name="T66" fmla="*/ 84 w 113"/>
                <a:gd name="T67" fmla="*/ 136 h 233"/>
                <a:gd name="T68" fmla="*/ 91 w 113"/>
                <a:gd name="T69" fmla="*/ 158 h 233"/>
                <a:gd name="T70" fmla="*/ 85 w 113"/>
                <a:gd name="T71" fmla="*/ 178 h 233"/>
                <a:gd name="T72" fmla="*/ 70 w 113"/>
                <a:gd name="T73" fmla="*/ 187 h 233"/>
                <a:gd name="T74" fmla="*/ 70 w 113"/>
                <a:gd name="T75" fmla="*/ 127 h 233"/>
                <a:gd name="T76" fmla="*/ 84 w 113"/>
                <a:gd name="T77" fmla="*/ 136 h 233"/>
                <a:gd name="T78" fmla="*/ 84 w 113"/>
                <a:gd name="T79" fmla="*/ 136 h 233"/>
                <a:gd name="T80" fmla="*/ 84 w 113"/>
                <a:gd name="T81" fmla="*/ 13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3" h="233">
                  <a:moveTo>
                    <a:pt x="50" y="209"/>
                  </a:moveTo>
                  <a:cubicBezTo>
                    <a:pt x="50" y="223"/>
                    <a:pt x="50" y="223"/>
                    <a:pt x="50" y="223"/>
                  </a:cubicBezTo>
                  <a:cubicBezTo>
                    <a:pt x="50" y="229"/>
                    <a:pt x="54" y="233"/>
                    <a:pt x="60" y="233"/>
                  </a:cubicBezTo>
                  <a:cubicBezTo>
                    <a:pt x="66" y="233"/>
                    <a:pt x="70" y="229"/>
                    <a:pt x="70" y="223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3" y="206"/>
                    <a:pt x="93" y="201"/>
                    <a:pt x="100" y="193"/>
                  </a:cubicBezTo>
                  <a:cubicBezTo>
                    <a:pt x="109" y="184"/>
                    <a:pt x="113" y="171"/>
                    <a:pt x="113" y="156"/>
                  </a:cubicBezTo>
                  <a:cubicBezTo>
                    <a:pt x="113" y="141"/>
                    <a:pt x="109" y="129"/>
                    <a:pt x="100" y="120"/>
                  </a:cubicBezTo>
                  <a:cubicBezTo>
                    <a:pt x="92" y="111"/>
                    <a:pt x="80" y="106"/>
                    <a:pt x="70" y="102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80" y="44"/>
                    <a:pt x="87" y="47"/>
                    <a:pt x="91" y="50"/>
                  </a:cubicBezTo>
                  <a:cubicBezTo>
                    <a:pt x="94" y="51"/>
                    <a:pt x="97" y="52"/>
                    <a:pt x="99" y="52"/>
                  </a:cubicBezTo>
                  <a:cubicBezTo>
                    <a:pt x="105" y="52"/>
                    <a:pt x="108" y="44"/>
                    <a:pt x="108" y="40"/>
                  </a:cubicBezTo>
                  <a:cubicBezTo>
                    <a:pt x="108" y="35"/>
                    <a:pt x="103" y="31"/>
                    <a:pt x="94" y="27"/>
                  </a:cubicBezTo>
                  <a:cubicBezTo>
                    <a:pt x="88" y="25"/>
                    <a:pt x="79" y="23"/>
                    <a:pt x="70" y="23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4"/>
                    <a:pt x="66" y="0"/>
                    <a:pt x="60" y="0"/>
                  </a:cubicBezTo>
                  <a:cubicBezTo>
                    <a:pt x="54" y="0"/>
                    <a:pt x="50" y="4"/>
                    <a:pt x="50" y="10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42" y="25"/>
                    <a:pt x="30" y="27"/>
                    <a:pt x="20" y="35"/>
                  </a:cubicBezTo>
                  <a:cubicBezTo>
                    <a:pt x="10" y="43"/>
                    <a:pt x="5" y="55"/>
                    <a:pt x="5" y="70"/>
                  </a:cubicBezTo>
                  <a:cubicBezTo>
                    <a:pt x="5" y="84"/>
                    <a:pt x="10" y="96"/>
                    <a:pt x="20" y="104"/>
                  </a:cubicBezTo>
                  <a:cubicBezTo>
                    <a:pt x="29" y="111"/>
                    <a:pt x="39" y="115"/>
                    <a:pt x="50" y="119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33" y="186"/>
                    <a:pt x="24" y="178"/>
                    <a:pt x="18" y="173"/>
                  </a:cubicBezTo>
                  <a:cubicBezTo>
                    <a:pt x="15" y="170"/>
                    <a:pt x="13" y="167"/>
                    <a:pt x="10" y="167"/>
                  </a:cubicBezTo>
                  <a:cubicBezTo>
                    <a:pt x="5" y="167"/>
                    <a:pt x="0" y="174"/>
                    <a:pt x="0" y="180"/>
                  </a:cubicBezTo>
                  <a:cubicBezTo>
                    <a:pt x="0" y="191"/>
                    <a:pt x="20" y="207"/>
                    <a:pt x="50" y="209"/>
                  </a:cubicBezTo>
                  <a:close/>
                  <a:moveTo>
                    <a:pt x="27" y="67"/>
                  </a:moveTo>
                  <a:cubicBezTo>
                    <a:pt x="27" y="60"/>
                    <a:pt x="29" y="54"/>
                    <a:pt x="34" y="50"/>
                  </a:cubicBezTo>
                  <a:cubicBezTo>
                    <a:pt x="38" y="47"/>
                    <a:pt x="43" y="45"/>
                    <a:pt x="50" y="44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35" y="89"/>
                    <a:pt x="27" y="82"/>
                    <a:pt x="27" y="67"/>
                  </a:cubicBezTo>
                  <a:close/>
                  <a:moveTo>
                    <a:pt x="84" y="136"/>
                  </a:moveTo>
                  <a:cubicBezTo>
                    <a:pt x="89" y="142"/>
                    <a:pt x="91" y="149"/>
                    <a:pt x="91" y="158"/>
                  </a:cubicBezTo>
                  <a:cubicBezTo>
                    <a:pt x="91" y="166"/>
                    <a:pt x="89" y="173"/>
                    <a:pt x="85" y="178"/>
                  </a:cubicBezTo>
                  <a:cubicBezTo>
                    <a:pt x="81" y="182"/>
                    <a:pt x="76" y="185"/>
                    <a:pt x="70" y="187"/>
                  </a:cubicBezTo>
                  <a:cubicBezTo>
                    <a:pt x="70" y="127"/>
                    <a:pt x="70" y="127"/>
                    <a:pt x="70" y="127"/>
                  </a:cubicBezTo>
                  <a:cubicBezTo>
                    <a:pt x="76" y="130"/>
                    <a:pt x="81" y="133"/>
                    <a:pt x="84" y="136"/>
                  </a:cubicBezTo>
                  <a:close/>
                  <a:moveTo>
                    <a:pt x="84" y="136"/>
                  </a:moveTo>
                  <a:cubicBezTo>
                    <a:pt x="84" y="136"/>
                    <a:pt x="84" y="136"/>
                    <a:pt x="84" y="1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1" name="Group 9">
            <a:extLst>
              <a:ext uri="{FF2B5EF4-FFF2-40B4-BE49-F238E27FC236}">
                <a16:creationId xmlns:a16="http://schemas.microsoft.com/office/drawing/2014/main" id="{10A99B64-595D-4263-B729-30D7965642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62315" y="1947566"/>
            <a:ext cx="590019" cy="573659"/>
            <a:chOff x="4224" y="4480"/>
            <a:chExt cx="1118" cy="1087"/>
          </a:xfrm>
          <a:solidFill>
            <a:srgbClr val="00A3E0"/>
          </a:solidFill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D617EC80-D0CA-46B1-B9E5-19C968C06E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4" y="4480"/>
              <a:ext cx="937" cy="849"/>
            </a:xfrm>
            <a:custGeom>
              <a:avLst/>
              <a:gdLst>
                <a:gd name="T0" fmla="*/ 270 w 420"/>
                <a:gd name="T1" fmla="*/ 327 h 392"/>
                <a:gd name="T2" fmla="*/ 278 w 420"/>
                <a:gd name="T3" fmla="*/ 319 h 392"/>
                <a:gd name="T4" fmla="*/ 270 w 420"/>
                <a:gd name="T5" fmla="*/ 311 h 392"/>
                <a:gd name="T6" fmla="*/ 17 w 420"/>
                <a:gd name="T7" fmla="*/ 311 h 392"/>
                <a:gd name="T8" fmla="*/ 16 w 420"/>
                <a:gd name="T9" fmla="*/ 310 h 392"/>
                <a:gd name="T10" fmla="*/ 16 w 420"/>
                <a:gd name="T11" fmla="*/ 18 h 392"/>
                <a:gd name="T12" fmla="*/ 17 w 420"/>
                <a:gd name="T13" fmla="*/ 16 h 392"/>
                <a:gd name="T14" fmla="*/ 403 w 420"/>
                <a:gd name="T15" fmla="*/ 16 h 392"/>
                <a:gd name="T16" fmla="*/ 404 w 420"/>
                <a:gd name="T17" fmla="*/ 18 h 392"/>
                <a:gd name="T18" fmla="*/ 404 w 420"/>
                <a:gd name="T19" fmla="*/ 158 h 392"/>
                <a:gd name="T20" fmla="*/ 412 w 420"/>
                <a:gd name="T21" fmla="*/ 166 h 392"/>
                <a:gd name="T22" fmla="*/ 420 w 420"/>
                <a:gd name="T23" fmla="*/ 158 h 392"/>
                <a:gd name="T24" fmla="*/ 420 w 420"/>
                <a:gd name="T25" fmla="*/ 18 h 392"/>
                <a:gd name="T26" fmla="*/ 403 w 420"/>
                <a:gd name="T27" fmla="*/ 0 h 392"/>
                <a:gd name="T28" fmla="*/ 17 w 420"/>
                <a:gd name="T29" fmla="*/ 0 h 392"/>
                <a:gd name="T30" fmla="*/ 0 w 420"/>
                <a:gd name="T31" fmla="*/ 18 h 392"/>
                <a:gd name="T32" fmla="*/ 0 w 420"/>
                <a:gd name="T33" fmla="*/ 310 h 392"/>
                <a:gd name="T34" fmla="*/ 17 w 420"/>
                <a:gd name="T35" fmla="*/ 327 h 392"/>
                <a:gd name="T36" fmla="*/ 161 w 420"/>
                <a:gd name="T37" fmla="*/ 327 h 392"/>
                <a:gd name="T38" fmla="*/ 161 w 420"/>
                <a:gd name="T39" fmla="*/ 376 h 392"/>
                <a:gd name="T40" fmla="*/ 100 w 420"/>
                <a:gd name="T41" fmla="*/ 376 h 392"/>
                <a:gd name="T42" fmla="*/ 92 w 420"/>
                <a:gd name="T43" fmla="*/ 384 h 392"/>
                <a:gd name="T44" fmla="*/ 100 w 420"/>
                <a:gd name="T45" fmla="*/ 392 h 392"/>
                <a:gd name="T46" fmla="*/ 270 w 420"/>
                <a:gd name="T47" fmla="*/ 392 h 392"/>
                <a:gd name="T48" fmla="*/ 278 w 420"/>
                <a:gd name="T49" fmla="*/ 384 h 392"/>
                <a:gd name="T50" fmla="*/ 270 w 420"/>
                <a:gd name="T51" fmla="*/ 376 h 392"/>
                <a:gd name="T52" fmla="*/ 259 w 420"/>
                <a:gd name="T53" fmla="*/ 376 h 392"/>
                <a:gd name="T54" fmla="*/ 259 w 420"/>
                <a:gd name="T55" fmla="*/ 327 h 392"/>
                <a:gd name="T56" fmla="*/ 270 w 420"/>
                <a:gd name="T57" fmla="*/ 327 h 392"/>
                <a:gd name="T58" fmla="*/ 243 w 420"/>
                <a:gd name="T59" fmla="*/ 376 h 392"/>
                <a:gd name="T60" fmla="*/ 177 w 420"/>
                <a:gd name="T61" fmla="*/ 376 h 392"/>
                <a:gd name="T62" fmla="*/ 177 w 420"/>
                <a:gd name="T63" fmla="*/ 327 h 392"/>
                <a:gd name="T64" fmla="*/ 243 w 420"/>
                <a:gd name="T65" fmla="*/ 327 h 392"/>
                <a:gd name="T66" fmla="*/ 243 w 420"/>
                <a:gd name="T67" fmla="*/ 376 h 392"/>
                <a:gd name="T68" fmla="*/ 243 w 420"/>
                <a:gd name="T69" fmla="*/ 376 h 392"/>
                <a:gd name="T70" fmla="*/ 243 w 420"/>
                <a:gd name="T71" fmla="*/ 376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0" h="392">
                  <a:moveTo>
                    <a:pt x="270" y="327"/>
                  </a:moveTo>
                  <a:cubicBezTo>
                    <a:pt x="275" y="327"/>
                    <a:pt x="278" y="324"/>
                    <a:pt x="278" y="319"/>
                  </a:cubicBezTo>
                  <a:cubicBezTo>
                    <a:pt x="278" y="315"/>
                    <a:pt x="275" y="311"/>
                    <a:pt x="270" y="311"/>
                  </a:cubicBezTo>
                  <a:cubicBezTo>
                    <a:pt x="17" y="311"/>
                    <a:pt x="17" y="311"/>
                    <a:pt x="17" y="311"/>
                  </a:cubicBezTo>
                  <a:cubicBezTo>
                    <a:pt x="17" y="311"/>
                    <a:pt x="16" y="311"/>
                    <a:pt x="16" y="3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7"/>
                    <a:pt x="17" y="16"/>
                    <a:pt x="17" y="16"/>
                  </a:cubicBezTo>
                  <a:cubicBezTo>
                    <a:pt x="403" y="16"/>
                    <a:pt x="403" y="16"/>
                    <a:pt x="403" y="16"/>
                  </a:cubicBezTo>
                  <a:cubicBezTo>
                    <a:pt x="404" y="16"/>
                    <a:pt x="404" y="17"/>
                    <a:pt x="404" y="18"/>
                  </a:cubicBezTo>
                  <a:cubicBezTo>
                    <a:pt x="404" y="158"/>
                    <a:pt x="404" y="158"/>
                    <a:pt x="404" y="158"/>
                  </a:cubicBezTo>
                  <a:cubicBezTo>
                    <a:pt x="404" y="163"/>
                    <a:pt x="408" y="166"/>
                    <a:pt x="412" y="166"/>
                  </a:cubicBezTo>
                  <a:cubicBezTo>
                    <a:pt x="417" y="166"/>
                    <a:pt x="420" y="163"/>
                    <a:pt x="420" y="158"/>
                  </a:cubicBezTo>
                  <a:cubicBezTo>
                    <a:pt x="420" y="18"/>
                    <a:pt x="420" y="18"/>
                    <a:pt x="420" y="18"/>
                  </a:cubicBezTo>
                  <a:cubicBezTo>
                    <a:pt x="420" y="8"/>
                    <a:pt x="413" y="0"/>
                    <a:pt x="4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319"/>
                    <a:pt x="8" y="327"/>
                    <a:pt x="17" y="327"/>
                  </a:cubicBezTo>
                  <a:cubicBezTo>
                    <a:pt x="161" y="327"/>
                    <a:pt x="161" y="327"/>
                    <a:pt x="161" y="327"/>
                  </a:cubicBezTo>
                  <a:cubicBezTo>
                    <a:pt x="161" y="376"/>
                    <a:pt x="161" y="376"/>
                    <a:pt x="161" y="376"/>
                  </a:cubicBezTo>
                  <a:cubicBezTo>
                    <a:pt x="100" y="376"/>
                    <a:pt x="100" y="376"/>
                    <a:pt x="100" y="376"/>
                  </a:cubicBezTo>
                  <a:cubicBezTo>
                    <a:pt x="95" y="376"/>
                    <a:pt x="92" y="379"/>
                    <a:pt x="92" y="384"/>
                  </a:cubicBezTo>
                  <a:cubicBezTo>
                    <a:pt x="92" y="388"/>
                    <a:pt x="95" y="392"/>
                    <a:pt x="100" y="392"/>
                  </a:cubicBezTo>
                  <a:cubicBezTo>
                    <a:pt x="270" y="392"/>
                    <a:pt x="270" y="392"/>
                    <a:pt x="270" y="392"/>
                  </a:cubicBezTo>
                  <a:cubicBezTo>
                    <a:pt x="275" y="392"/>
                    <a:pt x="278" y="388"/>
                    <a:pt x="278" y="384"/>
                  </a:cubicBezTo>
                  <a:cubicBezTo>
                    <a:pt x="278" y="379"/>
                    <a:pt x="275" y="376"/>
                    <a:pt x="270" y="376"/>
                  </a:cubicBezTo>
                  <a:cubicBezTo>
                    <a:pt x="259" y="376"/>
                    <a:pt x="259" y="376"/>
                    <a:pt x="259" y="376"/>
                  </a:cubicBezTo>
                  <a:cubicBezTo>
                    <a:pt x="259" y="327"/>
                    <a:pt x="259" y="327"/>
                    <a:pt x="259" y="327"/>
                  </a:cubicBezTo>
                  <a:lnTo>
                    <a:pt x="270" y="327"/>
                  </a:lnTo>
                  <a:close/>
                  <a:moveTo>
                    <a:pt x="243" y="376"/>
                  </a:moveTo>
                  <a:cubicBezTo>
                    <a:pt x="177" y="376"/>
                    <a:pt x="177" y="376"/>
                    <a:pt x="177" y="376"/>
                  </a:cubicBezTo>
                  <a:cubicBezTo>
                    <a:pt x="177" y="327"/>
                    <a:pt x="177" y="327"/>
                    <a:pt x="177" y="327"/>
                  </a:cubicBezTo>
                  <a:cubicBezTo>
                    <a:pt x="243" y="327"/>
                    <a:pt x="243" y="327"/>
                    <a:pt x="243" y="327"/>
                  </a:cubicBezTo>
                  <a:lnTo>
                    <a:pt x="243" y="376"/>
                  </a:lnTo>
                  <a:close/>
                  <a:moveTo>
                    <a:pt x="243" y="376"/>
                  </a:moveTo>
                  <a:cubicBezTo>
                    <a:pt x="243" y="376"/>
                    <a:pt x="243" y="376"/>
                    <a:pt x="243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6FD3876F-5CC5-4BE3-8BB1-3BFB4B01B8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5" y="5037"/>
              <a:ext cx="549" cy="34"/>
            </a:xfrm>
            <a:custGeom>
              <a:avLst/>
              <a:gdLst>
                <a:gd name="T0" fmla="*/ 238 w 246"/>
                <a:gd name="T1" fmla="*/ 0 h 16"/>
                <a:gd name="T2" fmla="*/ 8 w 246"/>
                <a:gd name="T3" fmla="*/ 0 h 16"/>
                <a:gd name="T4" fmla="*/ 0 w 246"/>
                <a:gd name="T5" fmla="*/ 8 h 16"/>
                <a:gd name="T6" fmla="*/ 8 w 246"/>
                <a:gd name="T7" fmla="*/ 16 h 16"/>
                <a:gd name="T8" fmla="*/ 238 w 246"/>
                <a:gd name="T9" fmla="*/ 16 h 16"/>
                <a:gd name="T10" fmla="*/ 246 w 246"/>
                <a:gd name="T11" fmla="*/ 8 h 16"/>
                <a:gd name="T12" fmla="*/ 238 w 246"/>
                <a:gd name="T13" fmla="*/ 0 h 16"/>
                <a:gd name="T14" fmla="*/ 238 w 246"/>
                <a:gd name="T15" fmla="*/ 0 h 16"/>
                <a:gd name="T16" fmla="*/ 238 w 246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">
                  <a:moveTo>
                    <a:pt x="23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238" y="16"/>
                    <a:pt x="238" y="16"/>
                    <a:pt x="238" y="16"/>
                  </a:cubicBezTo>
                  <a:cubicBezTo>
                    <a:pt x="243" y="16"/>
                    <a:pt x="246" y="12"/>
                    <a:pt x="246" y="8"/>
                  </a:cubicBezTo>
                  <a:cubicBezTo>
                    <a:pt x="246" y="4"/>
                    <a:pt x="243" y="0"/>
                    <a:pt x="238" y="0"/>
                  </a:cubicBezTo>
                  <a:close/>
                  <a:moveTo>
                    <a:pt x="238" y="0"/>
                  </a:moveTo>
                  <a:cubicBezTo>
                    <a:pt x="238" y="0"/>
                    <a:pt x="238" y="0"/>
                    <a:pt x="23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621DC3F7-3208-4F08-9AA4-322D9F9AE2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0" y="4874"/>
              <a:ext cx="462" cy="693"/>
            </a:xfrm>
            <a:custGeom>
              <a:avLst/>
              <a:gdLst>
                <a:gd name="T0" fmla="*/ 190 w 207"/>
                <a:gd name="T1" fmla="*/ 0 h 320"/>
                <a:gd name="T2" fmla="*/ 18 w 207"/>
                <a:gd name="T3" fmla="*/ 0 h 320"/>
                <a:gd name="T4" fmla="*/ 0 w 207"/>
                <a:gd name="T5" fmla="*/ 18 h 320"/>
                <a:gd name="T6" fmla="*/ 0 w 207"/>
                <a:gd name="T7" fmla="*/ 302 h 320"/>
                <a:gd name="T8" fmla="*/ 18 w 207"/>
                <a:gd name="T9" fmla="*/ 320 h 320"/>
                <a:gd name="T10" fmla="*/ 190 w 207"/>
                <a:gd name="T11" fmla="*/ 320 h 320"/>
                <a:gd name="T12" fmla="*/ 207 w 207"/>
                <a:gd name="T13" fmla="*/ 302 h 320"/>
                <a:gd name="T14" fmla="*/ 207 w 207"/>
                <a:gd name="T15" fmla="*/ 18 h 320"/>
                <a:gd name="T16" fmla="*/ 190 w 207"/>
                <a:gd name="T17" fmla="*/ 0 h 320"/>
                <a:gd name="T18" fmla="*/ 16 w 207"/>
                <a:gd name="T19" fmla="*/ 48 h 320"/>
                <a:gd name="T20" fmla="*/ 191 w 207"/>
                <a:gd name="T21" fmla="*/ 48 h 320"/>
                <a:gd name="T22" fmla="*/ 191 w 207"/>
                <a:gd name="T23" fmla="*/ 240 h 320"/>
                <a:gd name="T24" fmla="*/ 16 w 207"/>
                <a:gd name="T25" fmla="*/ 240 h 320"/>
                <a:gd name="T26" fmla="*/ 16 w 207"/>
                <a:gd name="T27" fmla="*/ 48 h 320"/>
                <a:gd name="T28" fmla="*/ 18 w 207"/>
                <a:gd name="T29" fmla="*/ 16 h 320"/>
                <a:gd name="T30" fmla="*/ 190 w 207"/>
                <a:gd name="T31" fmla="*/ 16 h 320"/>
                <a:gd name="T32" fmla="*/ 191 w 207"/>
                <a:gd name="T33" fmla="*/ 18 h 320"/>
                <a:gd name="T34" fmla="*/ 191 w 207"/>
                <a:gd name="T35" fmla="*/ 32 h 320"/>
                <a:gd name="T36" fmla="*/ 16 w 207"/>
                <a:gd name="T37" fmla="*/ 32 h 320"/>
                <a:gd name="T38" fmla="*/ 16 w 207"/>
                <a:gd name="T39" fmla="*/ 18 h 320"/>
                <a:gd name="T40" fmla="*/ 18 w 207"/>
                <a:gd name="T41" fmla="*/ 16 h 320"/>
                <a:gd name="T42" fmla="*/ 190 w 207"/>
                <a:gd name="T43" fmla="*/ 304 h 320"/>
                <a:gd name="T44" fmla="*/ 18 w 207"/>
                <a:gd name="T45" fmla="*/ 304 h 320"/>
                <a:gd name="T46" fmla="*/ 16 w 207"/>
                <a:gd name="T47" fmla="*/ 302 h 320"/>
                <a:gd name="T48" fmla="*/ 16 w 207"/>
                <a:gd name="T49" fmla="*/ 256 h 320"/>
                <a:gd name="T50" fmla="*/ 191 w 207"/>
                <a:gd name="T51" fmla="*/ 256 h 320"/>
                <a:gd name="T52" fmla="*/ 191 w 207"/>
                <a:gd name="T53" fmla="*/ 302 h 320"/>
                <a:gd name="T54" fmla="*/ 190 w 207"/>
                <a:gd name="T55" fmla="*/ 304 h 320"/>
                <a:gd name="T56" fmla="*/ 190 w 207"/>
                <a:gd name="T57" fmla="*/ 304 h 320"/>
                <a:gd name="T58" fmla="*/ 190 w 207"/>
                <a:gd name="T59" fmla="*/ 30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7" h="32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12"/>
                    <a:pt x="8" y="320"/>
                    <a:pt x="18" y="320"/>
                  </a:cubicBezTo>
                  <a:cubicBezTo>
                    <a:pt x="190" y="320"/>
                    <a:pt x="190" y="320"/>
                    <a:pt x="190" y="320"/>
                  </a:cubicBezTo>
                  <a:cubicBezTo>
                    <a:pt x="200" y="320"/>
                    <a:pt x="207" y="312"/>
                    <a:pt x="207" y="302"/>
                  </a:cubicBezTo>
                  <a:cubicBezTo>
                    <a:pt x="207" y="18"/>
                    <a:pt x="207" y="18"/>
                    <a:pt x="207" y="18"/>
                  </a:cubicBezTo>
                  <a:cubicBezTo>
                    <a:pt x="207" y="8"/>
                    <a:pt x="200" y="0"/>
                    <a:pt x="190" y="0"/>
                  </a:cubicBezTo>
                  <a:close/>
                  <a:moveTo>
                    <a:pt x="16" y="48"/>
                  </a:moveTo>
                  <a:cubicBezTo>
                    <a:pt x="191" y="48"/>
                    <a:pt x="191" y="48"/>
                    <a:pt x="191" y="48"/>
                  </a:cubicBezTo>
                  <a:cubicBezTo>
                    <a:pt x="191" y="240"/>
                    <a:pt x="191" y="240"/>
                    <a:pt x="191" y="240"/>
                  </a:cubicBezTo>
                  <a:cubicBezTo>
                    <a:pt x="16" y="240"/>
                    <a:pt x="16" y="240"/>
                    <a:pt x="16" y="240"/>
                  </a:cubicBezTo>
                  <a:lnTo>
                    <a:pt x="16" y="48"/>
                  </a:lnTo>
                  <a:close/>
                  <a:moveTo>
                    <a:pt x="18" y="16"/>
                  </a:moveTo>
                  <a:cubicBezTo>
                    <a:pt x="190" y="16"/>
                    <a:pt x="190" y="16"/>
                    <a:pt x="190" y="16"/>
                  </a:cubicBezTo>
                  <a:cubicBezTo>
                    <a:pt x="191" y="16"/>
                    <a:pt x="191" y="17"/>
                    <a:pt x="191" y="18"/>
                  </a:cubicBezTo>
                  <a:cubicBezTo>
                    <a:pt x="191" y="32"/>
                    <a:pt x="191" y="32"/>
                    <a:pt x="191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7"/>
                    <a:pt x="17" y="16"/>
                    <a:pt x="18" y="16"/>
                  </a:cubicBezTo>
                  <a:close/>
                  <a:moveTo>
                    <a:pt x="190" y="304"/>
                  </a:moveTo>
                  <a:cubicBezTo>
                    <a:pt x="18" y="304"/>
                    <a:pt x="18" y="304"/>
                    <a:pt x="18" y="304"/>
                  </a:cubicBezTo>
                  <a:cubicBezTo>
                    <a:pt x="17" y="304"/>
                    <a:pt x="16" y="303"/>
                    <a:pt x="16" y="302"/>
                  </a:cubicBezTo>
                  <a:cubicBezTo>
                    <a:pt x="16" y="256"/>
                    <a:pt x="16" y="256"/>
                    <a:pt x="16" y="256"/>
                  </a:cubicBezTo>
                  <a:cubicBezTo>
                    <a:pt x="191" y="256"/>
                    <a:pt x="191" y="256"/>
                    <a:pt x="191" y="256"/>
                  </a:cubicBezTo>
                  <a:cubicBezTo>
                    <a:pt x="191" y="302"/>
                    <a:pt x="191" y="302"/>
                    <a:pt x="191" y="302"/>
                  </a:cubicBezTo>
                  <a:cubicBezTo>
                    <a:pt x="191" y="303"/>
                    <a:pt x="191" y="304"/>
                    <a:pt x="190" y="304"/>
                  </a:cubicBezTo>
                  <a:close/>
                  <a:moveTo>
                    <a:pt x="190" y="304"/>
                  </a:moveTo>
                  <a:cubicBezTo>
                    <a:pt x="190" y="304"/>
                    <a:pt x="190" y="304"/>
                    <a:pt x="190" y="30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25497BAF-DD5C-4FD8-832B-F1F71D46C5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9" y="5463"/>
              <a:ext cx="107" cy="35"/>
            </a:xfrm>
            <a:custGeom>
              <a:avLst/>
              <a:gdLst>
                <a:gd name="T0" fmla="*/ 40 w 48"/>
                <a:gd name="T1" fmla="*/ 0 h 16"/>
                <a:gd name="T2" fmla="*/ 8 w 48"/>
                <a:gd name="T3" fmla="*/ 0 h 16"/>
                <a:gd name="T4" fmla="*/ 0 w 48"/>
                <a:gd name="T5" fmla="*/ 8 h 16"/>
                <a:gd name="T6" fmla="*/ 8 w 48"/>
                <a:gd name="T7" fmla="*/ 16 h 16"/>
                <a:gd name="T8" fmla="*/ 40 w 48"/>
                <a:gd name="T9" fmla="*/ 16 h 16"/>
                <a:gd name="T10" fmla="*/ 48 w 48"/>
                <a:gd name="T11" fmla="*/ 8 h 16"/>
                <a:gd name="T12" fmla="*/ 40 w 48"/>
                <a:gd name="T13" fmla="*/ 0 h 16"/>
                <a:gd name="T14" fmla="*/ 40 w 48"/>
                <a:gd name="T15" fmla="*/ 0 h 16"/>
                <a:gd name="T16" fmla="*/ 40 w 48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6">
                  <a:moveTo>
                    <a:pt x="4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4" y="16"/>
                    <a:pt x="48" y="12"/>
                    <a:pt x="48" y="8"/>
                  </a:cubicBezTo>
                  <a:cubicBezTo>
                    <a:pt x="48" y="3"/>
                    <a:pt x="44" y="0"/>
                    <a:pt x="40" y="0"/>
                  </a:cubicBezTo>
                  <a:close/>
                  <a:moveTo>
                    <a:pt x="40" y="0"/>
                  </a:move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2" name="Group 16">
            <a:extLst>
              <a:ext uri="{FF2B5EF4-FFF2-40B4-BE49-F238E27FC236}">
                <a16:creationId xmlns:a16="http://schemas.microsoft.com/office/drawing/2014/main" id="{3A2A6A25-4073-4DF0-A4FE-880ED86FCF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97920" y="4788075"/>
            <a:ext cx="577639" cy="559950"/>
            <a:chOff x="3736" y="4411"/>
            <a:chExt cx="1143" cy="1108"/>
          </a:xfrm>
          <a:solidFill>
            <a:srgbClr val="00A3E0"/>
          </a:solidFill>
        </p:grpSpPr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D908A833-A126-4135-9E07-FDF0A6ACDF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6" y="4558"/>
              <a:ext cx="741" cy="961"/>
            </a:xfrm>
            <a:custGeom>
              <a:avLst/>
              <a:gdLst>
                <a:gd name="T0" fmla="*/ 290 w 332"/>
                <a:gd name="T1" fmla="*/ 341 h 444"/>
                <a:gd name="T2" fmla="*/ 256 w 332"/>
                <a:gd name="T3" fmla="*/ 307 h 444"/>
                <a:gd name="T4" fmla="*/ 256 w 332"/>
                <a:gd name="T5" fmla="*/ 265 h 444"/>
                <a:gd name="T6" fmla="*/ 273 w 332"/>
                <a:gd name="T7" fmla="*/ 204 h 444"/>
                <a:gd name="T8" fmla="*/ 273 w 332"/>
                <a:gd name="T9" fmla="*/ 128 h 444"/>
                <a:gd name="T10" fmla="*/ 136 w 332"/>
                <a:gd name="T11" fmla="*/ 0 h 444"/>
                <a:gd name="T12" fmla="*/ 0 w 332"/>
                <a:gd name="T13" fmla="*/ 128 h 444"/>
                <a:gd name="T14" fmla="*/ 0 w 332"/>
                <a:gd name="T15" fmla="*/ 204 h 444"/>
                <a:gd name="T16" fmla="*/ 69 w 332"/>
                <a:gd name="T17" fmla="*/ 315 h 444"/>
                <a:gd name="T18" fmla="*/ 77 w 332"/>
                <a:gd name="T19" fmla="*/ 300 h 444"/>
                <a:gd name="T20" fmla="*/ 17 w 332"/>
                <a:gd name="T21" fmla="*/ 204 h 444"/>
                <a:gd name="T22" fmla="*/ 17 w 332"/>
                <a:gd name="T23" fmla="*/ 128 h 444"/>
                <a:gd name="T24" fmla="*/ 136 w 332"/>
                <a:gd name="T25" fmla="*/ 17 h 444"/>
                <a:gd name="T26" fmla="*/ 256 w 332"/>
                <a:gd name="T27" fmla="*/ 128 h 444"/>
                <a:gd name="T28" fmla="*/ 256 w 332"/>
                <a:gd name="T29" fmla="*/ 204 h 444"/>
                <a:gd name="T30" fmla="*/ 196 w 332"/>
                <a:gd name="T31" fmla="*/ 300 h 444"/>
                <a:gd name="T32" fmla="*/ 155 w 332"/>
                <a:gd name="T33" fmla="*/ 322 h 444"/>
                <a:gd name="T34" fmla="*/ 118 w 332"/>
                <a:gd name="T35" fmla="*/ 322 h 444"/>
                <a:gd name="T36" fmla="*/ 109 w 332"/>
                <a:gd name="T37" fmla="*/ 337 h 444"/>
                <a:gd name="T38" fmla="*/ 163 w 332"/>
                <a:gd name="T39" fmla="*/ 337 h 444"/>
                <a:gd name="T40" fmla="*/ 170 w 332"/>
                <a:gd name="T41" fmla="*/ 333 h 444"/>
                <a:gd name="T42" fmla="*/ 170 w 332"/>
                <a:gd name="T43" fmla="*/ 375 h 444"/>
                <a:gd name="T44" fmla="*/ 178 w 332"/>
                <a:gd name="T45" fmla="*/ 384 h 444"/>
                <a:gd name="T46" fmla="*/ 240 w 332"/>
                <a:gd name="T47" fmla="*/ 390 h 444"/>
                <a:gd name="T48" fmla="*/ 256 w 332"/>
                <a:gd name="T49" fmla="*/ 407 h 444"/>
                <a:gd name="T50" fmla="*/ 256 w 332"/>
                <a:gd name="T51" fmla="*/ 444 h 444"/>
                <a:gd name="T52" fmla="*/ 273 w 332"/>
                <a:gd name="T53" fmla="*/ 444 h 444"/>
                <a:gd name="T54" fmla="*/ 273 w 332"/>
                <a:gd name="T55" fmla="*/ 407 h 444"/>
                <a:gd name="T56" fmla="*/ 242 w 332"/>
                <a:gd name="T57" fmla="*/ 373 h 444"/>
                <a:gd name="T58" fmla="*/ 187 w 332"/>
                <a:gd name="T59" fmla="*/ 368 h 444"/>
                <a:gd name="T60" fmla="*/ 187 w 332"/>
                <a:gd name="T61" fmla="*/ 324 h 444"/>
                <a:gd name="T62" fmla="*/ 204 w 332"/>
                <a:gd name="T63" fmla="*/ 315 h 444"/>
                <a:gd name="T64" fmla="*/ 239 w 332"/>
                <a:gd name="T65" fmla="*/ 288 h 444"/>
                <a:gd name="T66" fmla="*/ 239 w 332"/>
                <a:gd name="T67" fmla="*/ 307 h 444"/>
                <a:gd name="T68" fmla="*/ 290 w 332"/>
                <a:gd name="T69" fmla="*/ 358 h 444"/>
                <a:gd name="T70" fmla="*/ 332 w 332"/>
                <a:gd name="T71" fmla="*/ 358 h 444"/>
                <a:gd name="T72" fmla="*/ 332 w 332"/>
                <a:gd name="T73" fmla="*/ 341 h 444"/>
                <a:gd name="T74" fmla="*/ 290 w 332"/>
                <a:gd name="T75" fmla="*/ 341 h 444"/>
                <a:gd name="T76" fmla="*/ 290 w 332"/>
                <a:gd name="T77" fmla="*/ 341 h 444"/>
                <a:gd name="T78" fmla="*/ 290 w 332"/>
                <a:gd name="T79" fmla="*/ 341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2" h="444">
                  <a:moveTo>
                    <a:pt x="290" y="341"/>
                  </a:moveTo>
                  <a:cubicBezTo>
                    <a:pt x="271" y="341"/>
                    <a:pt x="256" y="326"/>
                    <a:pt x="256" y="307"/>
                  </a:cubicBezTo>
                  <a:cubicBezTo>
                    <a:pt x="256" y="265"/>
                    <a:pt x="256" y="265"/>
                    <a:pt x="256" y="265"/>
                  </a:cubicBezTo>
                  <a:cubicBezTo>
                    <a:pt x="267" y="247"/>
                    <a:pt x="273" y="225"/>
                    <a:pt x="273" y="204"/>
                  </a:cubicBezTo>
                  <a:cubicBezTo>
                    <a:pt x="273" y="128"/>
                    <a:pt x="273" y="128"/>
                    <a:pt x="273" y="128"/>
                  </a:cubicBezTo>
                  <a:cubicBezTo>
                    <a:pt x="273" y="57"/>
                    <a:pt x="211" y="0"/>
                    <a:pt x="136" y="0"/>
                  </a:cubicBezTo>
                  <a:cubicBezTo>
                    <a:pt x="61" y="0"/>
                    <a:pt x="0" y="57"/>
                    <a:pt x="0" y="128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51"/>
                    <a:pt x="27" y="293"/>
                    <a:pt x="69" y="315"/>
                  </a:cubicBezTo>
                  <a:cubicBezTo>
                    <a:pt x="77" y="300"/>
                    <a:pt x="77" y="300"/>
                    <a:pt x="77" y="300"/>
                  </a:cubicBezTo>
                  <a:cubicBezTo>
                    <a:pt x="40" y="281"/>
                    <a:pt x="17" y="244"/>
                    <a:pt x="17" y="204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67"/>
                    <a:pt x="70" y="17"/>
                    <a:pt x="136" y="17"/>
                  </a:cubicBezTo>
                  <a:cubicBezTo>
                    <a:pt x="202" y="17"/>
                    <a:pt x="256" y="67"/>
                    <a:pt x="256" y="128"/>
                  </a:cubicBezTo>
                  <a:cubicBezTo>
                    <a:pt x="256" y="204"/>
                    <a:pt x="256" y="204"/>
                    <a:pt x="256" y="204"/>
                  </a:cubicBezTo>
                  <a:cubicBezTo>
                    <a:pt x="255" y="244"/>
                    <a:pt x="232" y="281"/>
                    <a:pt x="196" y="300"/>
                  </a:cubicBezTo>
                  <a:cubicBezTo>
                    <a:pt x="155" y="322"/>
                    <a:pt x="155" y="322"/>
                    <a:pt x="155" y="322"/>
                  </a:cubicBezTo>
                  <a:cubicBezTo>
                    <a:pt x="143" y="328"/>
                    <a:pt x="129" y="328"/>
                    <a:pt x="118" y="322"/>
                  </a:cubicBezTo>
                  <a:cubicBezTo>
                    <a:pt x="109" y="337"/>
                    <a:pt x="109" y="337"/>
                    <a:pt x="109" y="337"/>
                  </a:cubicBezTo>
                  <a:cubicBezTo>
                    <a:pt x="126" y="345"/>
                    <a:pt x="146" y="345"/>
                    <a:pt x="163" y="337"/>
                  </a:cubicBezTo>
                  <a:cubicBezTo>
                    <a:pt x="170" y="333"/>
                    <a:pt x="170" y="333"/>
                    <a:pt x="170" y="333"/>
                  </a:cubicBezTo>
                  <a:cubicBezTo>
                    <a:pt x="170" y="375"/>
                    <a:pt x="170" y="375"/>
                    <a:pt x="170" y="375"/>
                  </a:cubicBezTo>
                  <a:cubicBezTo>
                    <a:pt x="170" y="380"/>
                    <a:pt x="174" y="383"/>
                    <a:pt x="178" y="384"/>
                  </a:cubicBezTo>
                  <a:cubicBezTo>
                    <a:pt x="240" y="390"/>
                    <a:pt x="240" y="390"/>
                    <a:pt x="240" y="390"/>
                  </a:cubicBezTo>
                  <a:cubicBezTo>
                    <a:pt x="249" y="391"/>
                    <a:pt x="256" y="398"/>
                    <a:pt x="256" y="407"/>
                  </a:cubicBezTo>
                  <a:cubicBezTo>
                    <a:pt x="256" y="444"/>
                    <a:pt x="256" y="444"/>
                    <a:pt x="256" y="444"/>
                  </a:cubicBezTo>
                  <a:cubicBezTo>
                    <a:pt x="273" y="444"/>
                    <a:pt x="273" y="444"/>
                    <a:pt x="273" y="444"/>
                  </a:cubicBezTo>
                  <a:cubicBezTo>
                    <a:pt x="273" y="407"/>
                    <a:pt x="273" y="407"/>
                    <a:pt x="273" y="407"/>
                  </a:cubicBezTo>
                  <a:cubicBezTo>
                    <a:pt x="273" y="390"/>
                    <a:pt x="259" y="375"/>
                    <a:pt x="242" y="373"/>
                  </a:cubicBezTo>
                  <a:cubicBezTo>
                    <a:pt x="187" y="368"/>
                    <a:pt x="187" y="368"/>
                    <a:pt x="187" y="368"/>
                  </a:cubicBezTo>
                  <a:cubicBezTo>
                    <a:pt x="187" y="324"/>
                    <a:pt x="187" y="324"/>
                    <a:pt x="187" y="324"/>
                  </a:cubicBezTo>
                  <a:cubicBezTo>
                    <a:pt x="204" y="315"/>
                    <a:pt x="204" y="315"/>
                    <a:pt x="204" y="315"/>
                  </a:cubicBezTo>
                  <a:cubicBezTo>
                    <a:pt x="217" y="308"/>
                    <a:pt x="229" y="299"/>
                    <a:pt x="239" y="288"/>
                  </a:cubicBezTo>
                  <a:cubicBezTo>
                    <a:pt x="239" y="307"/>
                    <a:pt x="239" y="307"/>
                    <a:pt x="239" y="307"/>
                  </a:cubicBezTo>
                  <a:cubicBezTo>
                    <a:pt x="239" y="335"/>
                    <a:pt x="262" y="358"/>
                    <a:pt x="290" y="358"/>
                  </a:cubicBezTo>
                  <a:cubicBezTo>
                    <a:pt x="332" y="358"/>
                    <a:pt x="332" y="358"/>
                    <a:pt x="332" y="358"/>
                  </a:cubicBezTo>
                  <a:cubicBezTo>
                    <a:pt x="332" y="341"/>
                    <a:pt x="332" y="341"/>
                    <a:pt x="332" y="341"/>
                  </a:cubicBezTo>
                  <a:lnTo>
                    <a:pt x="290" y="341"/>
                  </a:lnTo>
                  <a:close/>
                  <a:moveTo>
                    <a:pt x="290" y="341"/>
                  </a:moveTo>
                  <a:cubicBezTo>
                    <a:pt x="290" y="341"/>
                    <a:pt x="290" y="341"/>
                    <a:pt x="290" y="34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26F215D8-9AB4-42E1-98DF-DC8F3D13D8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6" y="5244"/>
              <a:ext cx="228" cy="275"/>
            </a:xfrm>
            <a:custGeom>
              <a:avLst/>
              <a:gdLst>
                <a:gd name="T0" fmla="*/ 85 w 102"/>
                <a:gd name="T1" fmla="*/ 0 h 127"/>
                <a:gd name="T2" fmla="*/ 85 w 102"/>
                <a:gd name="T3" fmla="*/ 51 h 127"/>
                <a:gd name="T4" fmla="*/ 30 w 102"/>
                <a:gd name="T5" fmla="*/ 56 h 127"/>
                <a:gd name="T6" fmla="*/ 0 w 102"/>
                <a:gd name="T7" fmla="*/ 90 h 127"/>
                <a:gd name="T8" fmla="*/ 0 w 102"/>
                <a:gd name="T9" fmla="*/ 127 h 127"/>
                <a:gd name="T10" fmla="*/ 17 w 102"/>
                <a:gd name="T11" fmla="*/ 127 h 127"/>
                <a:gd name="T12" fmla="*/ 17 w 102"/>
                <a:gd name="T13" fmla="*/ 90 h 127"/>
                <a:gd name="T14" fmla="*/ 32 w 102"/>
                <a:gd name="T15" fmla="*/ 73 h 127"/>
                <a:gd name="T16" fmla="*/ 94 w 102"/>
                <a:gd name="T17" fmla="*/ 67 h 127"/>
                <a:gd name="T18" fmla="*/ 102 w 102"/>
                <a:gd name="T19" fmla="*/ 58 h 127"/>
                <a:gd name="T20" fmla="*/ 102 w 102"/>
                <a:gd name="T21" fmla="*/ 0 h 127"/>
                <a:gd name="T22" fmla="*/ 85 w 102"/>
                <a:gd name="T23" fmla="*/ 0 h 127"/>
                <a:gd name="T24" fmla="*/ 85 w 102"/>
                <a:gd name="T25" fmla="*/ 0 h 127"/>
                <a:gd name="T26" fmla="*/ 85 w 102"/>
                <a:gd name="T2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127">
                  <a:moveTo>
                    <a:pt x="85" y="0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13" y="58"/>
                    <a:pt x="0" y="73"/>
                    <a:pt x="0" y="90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7" y="127"/>
                    <a:pt x="17" y="127"/>
                    <a:pt x="17" y="127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81"/>
                    <a:pt x="23" y="74"/>
                    <a:pt x="32" y="73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9" y="66"/>
                    <a:pt x="102" y="63"/>
                    <a:pt x="102" y="58"/>
                  </a:cubicBezTo>
                  <a:cubicBezTo>
                    <a:pt x="102" y="0"/>
                    <a:pt x="102" y="0"/>
                    <a:pt x="102" y="0"/>
                  </a:cubicBezTo>
                  <a:lnTo>
                    <a:pt x="85" y="0"/>
                  </a:lnTo>
                  <a:close/>
                  <a:moveTo>
                    <a:pt x="85" y="0"/>
                  </a:moveTo>
                  <a:cubicBezTo>
                    <a:pt x="85" y="0"/>
                    <a:pt x="85" y="0"/>
                    <a:pt x="8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564207AA-79ED-4395-A53D-85E86834F0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2" y="4669"/>
              <a:ext cx="458" cy="443"/>
            </a:xfrm>
            <a:custGeom>
              <a:avLst/>
              <a:gdLst>
                <a:gd name="T0" fmla="*/ 173 w 205"/>
                <a:gd name="T1" fmla="*/ 73 h 205"/>
                <a:gd name="T2" fmla="*/ 186 w 205"/>
                <a:gd name="T3" fmla="*/ 42 h 205"/>
                <a:gd name="T4" fmla="*/ 152 w 205"/>
                <a:gd name="T5" fmla="*/ 17 h 205"/>
                <a:gd name="T6" fmla="*/ 126 w 205"/>
                <a:gd name="T7" fmla="*/ 7 h 205"/>
                <a:gd name="T8" fmla="*/ 87 w 205"/>
                <a:gd name="T9" fmla="*/ 0 h 205"/>
                <a:gd name="T10" fmla="*/ 73 w 205"/>
                <a:gd name="T11" fmla="*/ 32 h 205"/>
                <a:gd name="T12" fmla="*/ 41 w 205"/>
                <a:gd name="T13" fmla="*/ 18 h 205"/>
                <a:gd name="T14" fmla="*/ 17 w 205"/>
                <a:gd name="T15" fmla="*/ 53 h 205"/>
                <a:gd name="T16" fmla="*/ 7 w 205"/>
                <a:gd name="T17" fmla="*/ 79 h 205"/>
                <a:gd name="T18" fmla="*/ 0 w 205"/>
                <a:gd name="T19" fmla="*/ 118 h 205"/>
                <a:gd name="T20" fmla="*/ 31 w 205"/>
                <a:gd name="T21" fmla="*/ 132 h 205"/>
                <a:gd name="T22" fmla="*/ 18 w 205"/>
                <a:gd name="T23" fmla="*/ 163 h 205"/>
                <a:gd name="T24" fmla="*/ 52 w 205"/>
                <a:gd name="T25" fmla="*/ 188 h 205"/>
                <a:gd name="T26" fmla="*/ 78 w 205"/>
                <a:gd name="T27" fmla="*/ 198 h 205"/>
                <a:gd name="T28" fmla="*/ 118 w 205"/>
                <a:gd name="T29" fmla="*/ 205 h 205"/>
                <a:gd name="T30" fmla="*/ 131 w 205"/>
                <a:gd name="T31" fmla="*/ 173 h 205"/>
                <a:gd name="T32" fmla="*/ 163 w 205"/>
                <a:gd name="T33" fmla="*/ 187 h 205"/>
                <a:gd name="T34" fmla="*/ 187 w 205"/>
                <a:gd name="T35" fmla="*/ 152 h 205"/>
                <a:gd name="T36" fmla="*/ 198 w 205"/>
                <a:gd name="T37" fmla="*/ 127 h 205"/>
                <a:gd name="T38" fmla="*/ 205 w 205"/>
                <a:gd name="T39" fmla="*/ 87 h 205"/>
                <a:gd name="T40" fmla="*/ 188 w 205"/>
                <a:gd name="T41" fmla="*/ 111 h 205"/>
                <a:gd name="T42" fmla="*/ 156 w 205"/>
                <a:gd name="T43" fmla="*/ 135 h 205"/>
                <a:gd name="T44" fmla="*/ 169 w 205"/>
                <a:gd name="T45" fmla="*/ 156 h 205"/>
                <a:gd name="T46" fmla="*/ 140 w 205"/>
                <a:gd name="T47" fmla="*/ 159 h 205"/>
                <a:gd name="T48" fmla="*/ 115 w 205"/>
                <a:gd name="T49" fmla="*/ 169 h 205"/>
                <a:gd name="T50" fmla="*/ 93 w 205"/>
                <a:gd name="T51" fmla="*/ 188 h 205"/>
                <a:gd name="T52" fmla="*/ 70 w 205"/>
                <a:gd name="T53" fmla="*/ 156 h 205"/>
                <a:gd name="T54" fmla="*/ 48 w 205"/>
                <a:gd name="T55" fmla="*/ 170 h 205"/>
                <a:gd name="T56" fmla="*/ 46 w 205"/>
                <a:gd name="T57" fmla="*/ 141 h 205"/>
                <a:gd name="T58" fmla="*/ 36 w 205"/>
                <a:gd name="T59" fmla="*/ 115 h 205"/>
                <a:gd name="T60" fmla="*/ 17 w 205"/>
                <a:gd name="T61" fmla="*/ 94 h 205"/>
                <a:gd name="T62" fmla="*/ 48 w 205"/>
                <a:gd name="T63" fmla="*/ 70 h 205"/>
                <a:gd name="T64" fmla="*/ 35 w 205"/>
                <a:gd name="T65" fmla="*/ 49 h 205"/>
                <a:gd name="T66" fmla="*/ 64 w 205"/>
                <a:gd name="T67" fmla="*/ 46 h 205"/>
                <a:gd name="T68" fmla="*/ 89 w 205"/>
                <a:gd name="T69" fmla="*/ 36 h 205"/>
                <a:gd name="T70" fmla="*/ 111 w 205"/>
                <a:gd name="T71" fmla="*/ 17 h 205"/>
                <a:gd name="T72" fmla="*/ 134 w 205"/>
                <a:gd name="T73" fmla="*/ 49 h 205"/>
                <a:gd name="T74" fmla="*/ 156 w 205"/>
                <a:gd name="T75" fmla="*/ 35 h 205"/>
                <a:gd name="T76" fmla="*/ 159 w 205"/>
                <a:gd name="T77" fmla="*/ 65 h 205"/>
                <a:gd name="T78" fmla="*/ 169 w 205"/>
                <a:gd name="T79" fmla="*/ 90 h 205"/>
                <a:gd name="T80" fmla="*/ 188 w 205"/>
                <a:gd name="T81" fmla="*/ 111 h 205"/>
                <a:gd name="T82" fmla="*/ 188 w 205"/>
                <a:gd name="T83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5" h="205">
                  <a:moveTo>
                    <a:pt x="198" y="79"/>
                  </a:moveTo>
                  <a:cubicBezTo>
                    <a:pt x="173" y="73"/>
                    <a:pt x="173" y="73"/>
                    <a:pt x="173" y="73"/>
                  </a:cubicBezTo>
                  <a:cubicBezTo>
                    <a:pt x="187" y="53"/>
                    <a:pt x="187" y="53"/>
                    <a:pt x="187" y="53"/>
                  </a:cubicBezTo>
                  <a:cubicBezTo>
                    <a:pt x="190" y="49"/>
                    <a:pt x="189" y="45"/>
                    <a:pt x="186" y="42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0" y="15"/>
                    <a:pt x="156" y="15"/>
                    <a:pt x="152" y="17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5" y="3"/>
                    <a:pt x="122" y="0"/>
                    <a:pt x="118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3" y="0"/>
                    <a:pt x="79" y="3"/>
                    <a:pt x="78" y="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49" y="15"/>
                    <a:pt x="44" y="15"/>
                    <a:pt x="41" y="18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5" y="45"/>
                    <a:pt x="15" y="49"/>
                    <a:pt x="17" y="5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3" y="79"/>
                    <a:pt x="0" y="83"/>
                    <a:pt x="0" y="87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2"/>
                    <a:pt x="3" y="126"/>
                    <a:pt x="7" y="127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17" y="152"/>
                    <a:pt x="17" y="152"/>
                    <a:pt x="17" y="152"/>
                  </a:cubicBezTo>
                  <a:cubicBezTo>
                    <a:pt x="15" y="156"/>
                    <a:pt x="15" y="160"/>
                    <a:pt x="18" y="163"/>
                  </a:cubicBezTo>
                  <a:cubicBezTo>
                    <a:pt x="41" y="187"/>
                    <a:pt x="41" y="187"/>
                    <a:pt x="41" y="187"/>
                  </a:cubicBezTo>
                  <a:cubicBezTo>
                    <a:pt x="44" y="190"/>
                    <a:pt x="49" y="190"/>
                    <a:pt x="52" y="188"/>
                  </a:cubicBezTo>
                  <a:cubicBezTo>
                    <a:pt x="73" y="173"/>
                    <a:pt x="73" y="173"/>
                    <a:pt x="73" y="173"/>
                  </a:cubicBezTo>
                  <a:cubicBezTo>
                    <a:pt x="78" y="198"/>
                    <a:pt x="78" y="198"/>
                    <a:pt x="78" y="198"/>
                  </a:cubicBezTo>
                  <a:cubicBezTo>
                    <a:pt x="79" y="202"/>
                    <a:pt x="83" y="205"/>
                    <a:pt x="87" y="205"/>
                  </a:cubicBezTo>
                  <a:cubicBezTo>
                    <a:pt x="118" y="205"/>
                    <a:pt x="118" y="205"/>
                    <a:pt x="118" y="205"/>
                  </a:cubicBezTo>
                  <a:cubicBezTo>
                    <a:pt x="122" y="205"/>
                    <a:pt x="125" y="202"/>
                    <a:pt x="126" y="198"/>
                  </a:cubicBezTo>
                  <a:cubicBezTo>
                    <a:pt x="131" y="173"/>
                    <a:pt x="131" y="173"/>
                    <a:pt x="131" y="173"/>
                  </a:cubicBezTo>
                  <a:cubicBezTo>
                    <a:pt x="152" y="188"/>
                    <a:pt x="152" y="188"/>
                    <a:pt x="152" y="188"/>
                  </a:cubicBezTo>
                  <a:cubicBezTo>
                    <a:pt x="156" y="190"/>
                    <a:pt x="160" y="190"/>
                    <a:pt x="163" y="187"/>
                  </a:cubicBezTo>
                  <a:cubicBezTo>
                    <a:pt x="186" y="163"/>
                    <a:pt x="186" y="163"/>
                    <a:pt x="186" y="163"/>
                  </a:cubicBezTo>
                  <a:cubicBezTo>
                    <a:pt x="189" y="160"/>
                    <a:pt x="190" y="156"/>
                    <a:pt x="187" y="152"/>
                  </a:cubicBezTo>
                  <a:cubicBezTo>
                    <a:pt x="173" y="132"/>
                    <a:pt x="173" y="132"/>
                    <a:pt x="173" y="132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2" y="126"/>
                    <a:pt x="205" y="122"/>
                    <a:pt x="205" y="118"/>
                  </a:cubicBezTo>
                  <a:cubicBezTo>
                    <a:pt x="205" y="87"/>
                    <a:pt x="205" y="87"/>
                    <a:pt x="205" y="87"/>
                  </a:cubicBezTo>
                  <a:cubicBezTo>
                    <a:pt x="205" y="83"/>
                    <a:pt x="202" y="79"/>
                    <a:pt x="198" y="79"/>
                  </a:cubicBezTo>
                  <a:close/>
                  <a:moveTo>
                    <a:pt x="188" y="111"/>
                  </a:moveTo>
                  <a:cubicBezTo>
                    <a:pt x="169" y="115"/>
                    <a:pt x="169" y="115"/>
                    <a:pt x="169" y="115"/>
                  </a:cubicBezTo>
                  <a:cubicBezTo>
                    <a:pt x="160" y="117"/>
                    <a:pt x="154" y="126"/>
                    <a:pt x="156" y="135"/>
                  </a:cubicBezTo>
                  <a:cubicBezTo>
                    <a:pt x="156" y="137"/>
                    <a:pt x="157" y="139"/>
                    <a:pt x="159" y="141"/>
                  </a:cubicBezTo>
                  <a:cubicBezTo>
                    <a:pt x="169" y="156"/>
                    <a:pt x="169" y="156"/>
                    <a:pt x="169" y="156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33" y="154"/>
                    <a:pt x="123" y="156"/>
                    <a:pt x="117" y="163"/>
                  </a:cubicBezTo>
                  <a:cubicBezTo>
                    <a:pt x="116" y="165"/>
                    <a:pt x="115" y="167"/>
                    <a:pt x="115" y="169"/>
                  </a:cubicBezTo>
                  <a:cubicBezTo>
                    <a:pt x="111" y="188"/>
                    <a:pt x="111" y="188"/>
                    <a:pt x="111" y="188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89" y="169"/>
                    <a:pt x="89" y="169"/>
                    <a:pt x="89" y="169"/>
                  </a:cubicBezTo>
                  <a:cubicBezTo>
                    <a:pt x="88" y="160"/>
                    <a:pt x="79" y="154"/>
                    <a:pt x="70" y="156"/>
                  </a:cubicBezTo>
                  <a:cubicBezTo>
                    <a:pt x="68" y="157"/>
                    <a:pt x="66" y="158"/>
                    <a:pt x="64" y="159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35" y="156"/>
                    <a:pt x="35" y="156"/>
                    <a:pt x="35" y="156"/>
                  </a:cubicBezTo>
                  <a:cubicBezTo>
                    <a:pt x="46" y="141"/>
                    <a:pt x="46" y="141"/>
                    <a:pt x="46" y="141"/>
                  </a:cubicBezTo>
                  <a:cubicBezTo>
                    <a:pt x="51" y="133"/>
                    <a:pt x="49" y="123"/>
                    <a:pt x="42" y="118"/>
                  </a:cubicBezTo>
                  <a:cubicBezTo>
                    <a:pt x="40" y="117"/>
                    <a:pt x="38" y="116"/>
                    <a:pt x="36" y="115"/>
                  </a:cubicBezTo>
                  <a:cubicBezTo>
                    <a:pt x="17" y="111"/>
                    <a:pt x="17" y="111"/>
                    <a:pt x="17" y="111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45" y="88"/>
                    <a:pt x="50" y="79"/>
                    <a:pt x="48" y="70"/>
                  </a:cubicBezTo>
                  <a:cubicBezTo>
                    <a:pt x="48" y="68"/>
                    <a:pt x="47" y="66"/>
                    <a:pt x="46" y="65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72" y="51"/>
                    <a:pt x="82" y="49"/>
                    <a:pt x="87" y="42"/>
                  </a:cubicBezTo>
                  <a:cubicBezTo>
                    <a:pt x="88" y="40"/>
                    <a:pt x="89" y="38"/>
                    <a:pt x="89" y="36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45"/>
                    <a:pt x="125" y="51"/>
                    <a:pt x="134" y="49"/>
                  </a:cubicBezTo>
                  <a:cubicBezTo>
                    <a:pt x="136" y="48"/>
                    <a:pt x="138" y="47"/>
                    <a:pt x="140" y="46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53" y="72"/>
                    <a:pt x="155" y="82"/>
                    <a:pt x="163" y="87"/>
                  </a:cubicBezTo>
                  <a:cubicBezTo>
                    <a:pt x="164" y="89"/>
                    <a:pt x="167" y="89"/>
                    <a:pt x="169" y="90"/>
                  </a:cubicBezTo>
                  <a:cubicBezTo>
                    <a:pt x="188" y="94"/>
                    <a:pt x="188" y="94"/>
                    <a:pt x="188" y="94"/>
                  </a:cubicBezTo>
                  <a:lnTo>
                    <a:pt x="188" y="111"/>
                  </a:lnTo>
                  <a:close/>
                  <a:moveTo>
                    <a:pt x="188" y="111"/>
                  </a:moveTo>
                  <a:cubicBezTo>
                    <a:pt x="188" y="111"/>
                    <a:pt x="188" y="111"/>
                    <a:pt x="188" y="1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442B09A2-1D72-4B5F-A05B-06CBC5D391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6" y="4798"/>
              <a:ext cx="190" cy="184"/>
            </a:xfrm>
            <a:custGeom>
              <a:avLst/>
              <a:gdLst>
                <a:gd name="T0" fmla="*/ 42 w 85"/>
                <a:gd name="T1" fmla="*/ 0 h 85"/>
                <a:gd name="T2" fmla="*/ 0 w 85"/>
                <a:gd name="T3" fmla="*/ 43 h 85"/>
                <a:gd name="T4" fmla="*/ 42 w 85"/>
                <a:gd name="T5" fmla="*/ 85 h 85"/>
                <a:gd name="T6" fmla="*/ 85 w 85"/>
                <a:gd name="T7" fmla="*/ 43 h 85"/>
                <a:gd name="T8" fmla="*/ 42 w 85"/>
                <a:gd name="T9" fmla="*/ 0 h 85"/>
                <a:gd name="T10" fmla="*/ 42 w 85"/>
                <a:gd name="T11" fmla="*/ 68 h 85"/>
                <a:gd name="T12" fmla="*/ 17 w 85"/>
                <a:gd name="T13" fmla="*/ 43 h 85"/>
                <a:gd name="T14" fmla="*/ 42 w 85"/>
                <a:gd name="T15" fmla="*/ 17 h 85"/>
                <a:gd name="T16" fmla="*/ 68 w 85"/>
                <a:gd name="T17" fmla="*/ 43 h 85"/>
                <a:gd name="T18" fmla="*/ 42 w 85"/>
                <a:gd name="T19" fmla="*/ 68 h 85"/>
                <a:gd name="T20" fmla="*/ 42 w 85"/>
                <a:gd name="T21" fmla="*/ 68 h 85"/>
                <a:gd name="T22" fmla="*/ 42 w 85"/>
                <a:gd name="T23" fmla="*/ 6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85">
                  <a:moveTo>
                    <a:pt x="42" y="0"/>
                  </a:moveTo>
                  <a:cubicBezTo>
                    <a:pt x="19" y="0"/>
                    <a:pt x="0" y="19"/>
                    <a:pt x="0" y="43"/>
                  </a:cubicBezTo>
                  <a:cubicBezTo>
                    <a:pt x="0" y="66"/>
                    <a:pt x="19" y="85"/>
                    <a:pt x="42" y="85"/>
                  </a:cubicBezTo>
                  <a:cubicBezTo>
                    <a:pt x="66" y="85"/>
                    <a:pt x="85" y="66"/>
                    <a:pt x="85" y="43"/>
                  </a:cubicBezTo>
                  <a:cubicBezTo>
                    <a:pt x="85" y="19"/>
                    <a:pt x="66" y="0"/>
                    <a:pt x="42" y="0"/>
                  </a:cubicBezTo>
                  <a:close/>
                  <a:moveTo>
                    <a:pt x="42" y="68"/>
                  </a:moveTo>
                  <a:cubicBezTo>
                    <a:pt x="28" y="68"/>
                    <a:pt x="17" y="57"/>
                    <a:pt x="17" y="43"/>
                  </a:cubicBezTo>
                  <a:cubicBezTo>
                    <a:pt x="17" y="28"/>
                    <a:pt x="28" y="17"/>
                    <a:pt x="42" y="17"/>
                  </a:cubicBezTo>
                  <a:cubicBezTo>
                    <a:pt x="56" y="17"/>
                    <a:pt x="68" y="28"/>
                    <a:pt x="68" y="43"/>
                  </a:cubicBezTo>
                  <a:cubicBezTo>
                    <a:pt x="68" y="57"/>
                    <a:pt x="56" y="68"/>
                    <a:pt x="42" y="68"/>
                  </a:cubicBezTo>
                  <a:close/>
                  <a:moveTo>
                    <a:pt x="42" y="68"/>
                  </a:moveTo>
                  <a:cubicBezTo>
                    <a:pt x="42" y="68"/>
                    <a:pt x="42" y="68"/>
                    <a:pt x="42" y="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574B09E6-17F0-4F29-9432-A5B433E5D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3" y="4502"/>
              <a:ext cx="478" cy="407"/>
            </a:xfrm>
            <a:custGeom>
              <a:avLst/>
              <a:gdLst>
                <a:gd name="T0" fmla="*/ 187 w 214"/>
                <a:gd name="T1" fmla="*/ 0 h 188"/>
                <a:gd name="T2" fmla="*/ 162 w 214"/>
                <a:gd name="T3" fmla="*/ 26 h 188"/>
                <a:gd name="T4" fmla="*/ 172 w 214"/>
                <a:gd name="T5" fmla="*/ 46 h 188"/>
                <a:gd name="T6" fmla="*/ 153 w 214"/>
                <a:gd name="T7" fmla="*/ 103 h 188"/>
                <a:gd name="T8" fmla="*/ 137 w 214"/>
                <a:gd name="T9" fmla="*/ 109 h 188"/>
                <a:gd name="T10" fmla="*/ 102 w 214"/>
                <a:gd name="T11" fmla="*/ 90 h 188"/>
                <a:gd name="T12" fmla="*/ 82 w 214"/>
                <a:gd name="T13" fmla="*/ 61 h 188"/>
                <a:gd name="T14" fmla="*/ 77 w 214"/>
                <a:gd name="T15" fmla="*/ 60 h 188"/>
                <a:gd name="T16" fmla="*/ 51 w 214"/>
                <a:gd name="T17" fmla="*/ 86 h 188"/>
                <a:gd name="T18" fmla="*/ 56 w 214"/>
                <a:gd name="T19" fmla="*/ 101 h 188"/>
                <a:gd name="T20" fmla="*/ 32 w 214"/>
                <a:gd name="T21" fmla="*/ 138 h 188"/>
                <a:gd name="T22" fmla="*/ 25 w 214"/>
                <a:gd name="T23" fmla="*/ 137 h 188"/>
                <a:gd name="T24" fmla="*/ 0 w 214"/>
                <a:gd name="T25" fmla="*/ 162 h 188"/>
                <a:gd name="T26" fmla="*/ 25 w 214"/>
                <a:gd name="T27" fmla="*/ 188 h 188"/>
                <a:gd name="T28" fmla="*/ 51 w 214"/>
                <a:gd name="T29" fmla="*/ 162 h 188"/>
                <a:gd name="T30" fmla="*/ 46 w 214"/>
                <a:gd name="T31" fmla="*/ 147 h 188"/>
                <a:gd name="T32" fmla="*/ 70 w 214"/>
                <a:gd name="T33" fmla="*/ 110 h 188"/>
                <a:gd name="T34" fmla="*/ 77 w 214"/>
                <a:gd name="T35" fmla="*/ 111 h 188"/>
                <a:gd name="T36" fmla="*/ 93 w 214"/>
                <a:gd name="T37" fmla="*/ 105 h 188"/>
                <a:gd name="T38" fmla="*/ 128 w 214"/>
                <a:gd name="T39" fmla="*/ 124 h 188"/>
                <a:gd name="T40" fmla="*/ 149 w 214"/>
                <a:gd name="T41" fmla="*/ 154 h 188"/>
                <a:gd name="T42" fmla="*/ 179 w 214"/>
                <a:gd name="T43" fmla="*/ 133 h 188"/>
                <a:gd name="T44" fmla="*/ 169 w 214"/>
                <a:gd name="T45" fmla="*/ 108 h 188"/>
                <a:gd name="T46" fmla="*/ 188 w 214"/>
                <a:gd name="T47" fmla="*/ 51 h 188"/>
                <a:gd name="T48" fmla="*/ 213 w 214"/>
                <a:gd name="T49" fmla="*/ 25 h 188"/>
                <a:gd name="T50" fmla="*/ 187 w 214"/>
                <a:gd name="T51" fmla="*/ 0 h 188"/>
                <a:gd name="T52" fmla="*/ 25 w 214"/>
                <a:gd name="T53" fmla="*/ 171 h 188"/>
                <a:gd name="T54" fmla="*/ 17 w 214"/>
                <a:gd name="T55" fmla="*/ 162 h 188"/>
                <a:gd name="T56" fmla="*/ 25 w 214"/>
                <a:gd name="T57" fmla="*/ 154 h 188"/>
                <a:gd name="T58" fmla="*/ 34 w 214"/>
                <a:gd name="T59" fmla="*/ 162 h 188"/>
                <a:gd name="T60" fmla="*/ 25 w 214"/>
                <a:gd name="T61" fmla="*/ 171 h 188"/>
                <a:gd name="T62" fmla="*/ 77 w 214"/>
                <a:gd name="T63" fmla="*/ 94 h 188"/>
                <a:gd name="T64" fmla="*/ 68 w 214"/>
                <a:gd name="T65" fmla="*/ 86 h 188"/>
                <a:gd name="T66" fmla="*/ 77 w 214"/>
                <a:gd name="T67" fmla="*/ 77 h 188"/>
                <a:gd name="T68" fmla="*/ 85 w 214"/>
                <a:gd name="T69" fmla="*/ 86 h 188"/>
                <a:gd name="T70" fmla="*/ 77 w 214"/>
                <a:gd name="T71" fmla="*/ 94 h 188"/>
                <a:gd name="T72" fmla="*/ 153 w 214"/>
                <a:gd name="T73" fmla="*/ 137 h 188"/>
                <a:gd name="T74" fmla="*/ 145 w 214"/>
                <a:gd name="T75" fmla="*/ 128 h 188"/>
                <a:gd name="T76" fmla="*/ 153 w 214"/>
                <a:gd name="T77" fmla="*/ 120 h 188"/>
                <a:gd name="T78" fmla="*/ 162 w 214"/>
                <a:gd name="T79" fmla="*/ 128 h 188"/>
                <a:gd name="T80" fmla="*/ 153 w 214"/>
                <a:gd name="T81" fmla="*/ 137 h 188"/>
                <a:gd name="T82" fmla="*/ 188 w 214"/>
                <a:gd name="T83" fmla="*/ 34 h 188"/>
                <a:gd name="T84" fmla="*/ 179 w 214"/>
                <a:gd name="T85" fmla="*/ 26 h 188"/>
                <a:gd name="T86" fmla="*/ 188 w 214"/>
                <a:gd name="T87" fmla="*/ 17 h 188"/>
                <a:gd name="T88" fmla="*/ 196 w 214"/>
                <a:gd name="T89" fmla="*/ 26 h 188"/>
                <a:gd name="T90" fmla="*/ 188 w 214"/>
                <a:gd name="T91" fmla="*/ 34 h 188"/>
                <a:gd name="T92" fmla="*/ 188 w 214"/>
                <a:gd name="T93" fmla="*/ 34 h 188"/>
                <a:gd name="T94" fmla="*/ 188 w 214"/>
                <a:gd name="T95" fmla="*/ 3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14" h="188">
                  <a:moveTo>
                    <a:pt x="187" y="0"/>
                  </a:moveTo>
                  <a:cubicBezTo>
                    <a:pt x="173" y="0"/>
                    <a:pt x="162" y="12"/>
                    <a:pt x="162" y="26"/>
                  </a:cubicBezTo>
                  <a:cubicBezTo>
                    <a:pt x="162" y="34"/>
                    <a:pt x="166" y="41"/>
                    <a:pt x="172" y="46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47" y="103"/>
                    <a:pt x="141" y="105"/>
                    <a:pt x="137" y="109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4" y="76"/>
                    <a:pt x="95" y="63"/>
                    <a:pt x="82" y="61"/>
                  </a:cubicBezTo>
                  <a:cubicBezTo>
                    <a:pt x="80" y="60"/>
                    <a:pt x="78" y="60"/>
                    <a:pt x="77" y="60"/>
                  </a:cubicBezTo>
                  <a:cubicBezTo>
                    <a:pt x="62" y="60"/>
                    <a:pt x="51" y="72"/>
                    <a:pt x="51" y="86"/>
                  </a:cubicBezTo>
                  <a:cubicBezTo>
                    <a:pt x="51" y="91"/>
                    <a:pt x="53" y="97"/>
                    <a:pt x="56" y="101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0" y="137"/>
                    <a:pt x="28" y="137"/>
                    <a:pt x="25" y="137"/>
                  </a:cubicBezTo>
                  <a:cubicBezTo>
                    <a:pt x="11" y="137"/>
                    <a:pt x="0" y="148"/>
                    <a:pt x="0" y="162"/>
                  </a:cubicBezTo>
                  <a:cubicBezTo>
                    <a:pt x="0" y="177"/>
                    <a:pt x="11" y="188"/>
                    <a:pt x="25" y="188"/>
                  </a:cubicBezTo>
                  <a:cubicBezTo>
                    <a:pt x="40" y="188"/>
                    <a:pt x="51" y="177"/>
                    <a:pt x="51" y="162"/>
                  </a:cubicBezTo>
                  <a:cubicBezTo>
                    <a:pt x="51" y="157"/>
                    <a:pt x="49" y="152"/>
                    <a:pt x="46" y="147"/>
                  </a:cubicBezTo>
                  <a:cubicBezTo>
                    <a:pt x="70" y="110"/>
                    <a:pt x="70" y="110"/>
                    <a:pt x="70" y="110"/>
                  </a:cubicBezTo>
                  <a:cubicBezTo>
                    <a:pt x="72" y="111"/>
                    <a:pt x="74" y="111"/>
                    <a:pt x="77" y="111"/>
                  </a:cubicBezTo>
                  <a:cubicBezTo>
                    <a:pt x="83" y="111"/>
                    <a:pt x="89" y="109"/>
                    <a:pt x="93" y="105"/>
                  </a:cubicBezTo>
                  <a:cubicBezTo>
                    <a:pt x="128" y="124"/>
                    <a:pt x="128" y="124"/>
                    <a:pt x="128" y="124"/>
                  </a:cubicBezTo>
                  <a:cubicBezTo>
                    <a:pt x="126" y="138"/>
                    <a:pt x="135" y="151"/>
                    <a:pt x="149" y="154"/>
                  </a:cubicBezTo>
                  <a:cubicBezTo>
                    <a:pt x="163" y="156"/>
                    <a:pt x="176" y="147"/>
                    <a:pt x="179" y="133"/>
                  </a:cubicBezTo>
                  <a:cubicBezTo>
                    <a:pt x="180" y="124"/>
                    <a:pt x="177" y="114"/>
                    <a:pt x="169" y="108"/>
                  </a:cubicBezTo>
                  <a:cubicBezTo>
                    <a:pt x="188" y="51"/>
                    <a:pt x="188" y="51"/>
                    <a:pt x="188" y="51"/>
                  </a:cubicBezTo>
                  <a:cubicBezTo>
                    <a:pt x="202" y="51"/>
                    <a:pt x="214" y="40"/>
                    <a:pt x="213" y="25"/>
                  </a:cubicBezTo>
                  <a:cubicBezTo>
                    <a:pt x="213" y="11"/>
                    <a:pt x="202" y="0"/>
                    <a:pt x="187" y="0"/>
                  </a:cubicBezTo>
                  <a:close/>
                  <a:moveTo>
                    <a:pt x="25" y="171"/>
                  </a:moveTo>
                  <a:cubicBezTo>
                    <a:pt x="21" y="171"/>
                    <a:pt x="17" y="167"/>
                    <a:pt x="17" y="162"/>
                  </a:cubicBezTo>
                  <a:cubicBezTo>
                    <a:pt x="17" y="158"/>
                    <a:pt x="21" y="154"/>
                    <a:pt x="25" y="154"/>
                  </a:cubicBezTo>
                  <a:cubicBezTo>
                    <a:pt x="30" y="154"/>
                    <a:pt x="34" y="158"/>
                    <a:pt x="34" y="162"/>
                  </a:cubicBezTo>
                  <a:cubicBezTo>
                    <a:pt x="34" y="167"/>
                    <a:pt x="30" y="171"/>
                    <a:pt x="25" y="171"/>
                  </a:cubicBezTo>
                  <a:close/>
                  <a:moveTo>
                    <a:pt x="77" y="94"/>
                  </a:moveTo>
                  <a:cubicBezTo>
                    <a:pt x="72" y="94"/>
                    <a:pt x="68" y="90"/>
                    <a:pt x="68" y="86"/>
                  </a:cubicBezTo>
                  <a:cubicBezTo>
                    <a:pt x="68" y="81"/>
                    <a:pt x="72" y="77"/>
                    <a:pt x="77" y="77"/>
                  </a:cubicBezTo>
                  <a:cubicBezTo>
                    <a:pt x="81" y="77"/>
                    <a:pt x="85" y="81"/>
                    <a:pt x="85" y="86"/>
                  </a:cubicBezTo>
                  <a:cubicBezTo>
                    <a:pt x="85" y="90"/>
                    <a:pt x="81" y="94"/>
                    <a:pt x="77" y="94"/>
                  </a:cubicBezTo>
                  <a:close/>
                  <a:moveTo>
                    <a:pt x="153" y="137"/>
                  </a:moveTo>
                  <a:cubicBezTo>
                    <a:pt x="149" y="137"/>
                    <a:pt x="145" y="133"/>
                    <a:pt x="145" y="128"/>
                  </a:cubicBezTo>
                  <a:cubicBezTo>
                    <a:pt x="145" y="124"/>
                    <a:pt x="149" y="120"/>
                    <a:pt x="153" y="120"/>
                  </a:cubicBezTo>
                  <a:cubicBezTo>
                    <a:pt x="158" y="120"/>
                    <a:pt x="162" y="124"/>
                    <a:pt x="162" y="128"/>
                  </a:cubicBezTo>
                  <a:cubicBezTo>
                    <a:pt x="162" y="133"/>
                    <a:pt x="158" y="137"/>
                    <a:pt x="153" y="137"/>
                  </a:cubicBezTo>
                  <a:close/>
                  <a:moveTo>
                    <a:pt x="188" y="34"/>
                  </a:moveTo>
                  <a:cubicBezTo>
                    <a:pt x="183" y="34"/>
                    <a:pt x="179" y="31"/>
                    <a:pt x="179" y="26"/>
                  </a:cubicBezTo>
                  <a:cubicBezTo>
                    <a:pt x="179" y="21"/>
                    <a:pt x="183" y="17"/>
                    <a:pt x="188" y="17"/>
                  </a:cubicBezTo>
                  <a:cubicBezTo>
                    <a:pt x="192" y="17"/>
                    <a:pt x="196" y="21"/>
                    <a:pt x="196" y="26"/>
                  </a:cubicBezTo>
                  <a:cubicBezTo>
                    <a:pt x="196" y="31"/>
                    <a:pt x="192" y="34"/>
                    <a:pt x="188" y="34"/>
                  </a:cubicBezTo>
                  <a:close/>
                  <a:moveTo>
                    <a:pt x="188" y="34"/>
                  </a:moveTo>
                  <a:cubicBezTo>
                    <a:pt x="188" y="34"/>
                    <a:pt x="188" y="34"/>
                    <a:pt x="188" y="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69894D07-6656-4D45-9ACE-DF249B3077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1" y="4798"/>
              <a:ext cx="458" cy="444"/>
            </a:xfrm>
            <a:custGeom>
              <a:avLst/>
              <a:gdLst>
                <a:gd name="T0" fmla="*/ 420 w 458"/>
                <a:gd name="T1" fmla="*/ 0 h 444"/>
                <a:gd name="T2" fmla="*/ 420 w 458"/>
                <a:gd name="T3" fmla="*/ 407 h 444"/>
                <a:gd name="T4" fmla="*/ 382 w 458"/>
                <a:gd name="T5" fmla="*/ 407 h 444"/>
                <a:gd name="T6" fmla="*/ 382 w 458"/>
                <a:gd name="T7" fmla="*/ 295 h 444"/>
                <a:gd name="T8" fmla="*/ 344 w 458"/>
                <a:gd name="T9" fmla="*/ 295 h 444"/>
                <a:gd name="T10" fmla="*/ 344 w 458"/>
                <a:gd name="T11" fmla="*/ 407 h 444"/>
                <a:gd name="T12" fmla="*/ 306 w 458"/>
                <a:gd name="T13" fmla="*/ 407 h 444"/>
                <a:gd name="T14" fmla="*/ 306 w 458"/>
                <a:gd name="T15" fmla="*/ 277 h 444"/>
                <a:gd name="T16" fmla="*/ 268 w 458"/>
                <a:gd name="T17" fmla="*/ 277 h 444"/>
                <a:gd name="T18" fmla="*/ 268 w 458"/>
                <a:gd name="T19" fmla="*/ 407 h 444"/>
                <a:gd name="T20" fmla="*/ 230 w 458"/>
                <a:gd name="T21" fmla="*/ 407 h 444"/>
                <a:gd name="T22" fmla="*/ 230 w 458"/>
                <a:gd name="T23" fmla="*/ 221 h 444"/>
                <a:gd name="T24" fmla="*/ 192 w 458"/>
                <a:gd name="T25" fmla="*/ 221 h 444"/>
                <a:gd name="T26" fmla="*/ 192 w 458"/>
                <a:gd name="T27" fmla="*/ 407 h 444"/>
                <a:gd name="T28" fmla="*/ 154 w 458"/>
                <a:gd name="T29" fmla="*/ 407 h 444"/>
                <a:gd name="T30" fmla="*/ 154 w 458"/>
                <a:gd name="T31" fmla="*/ 111 h 444"/>
                <a:gd name="T32" fmla="*/ 116 w 458"/>
                <a:gd name="T33" fmla="*/ 111 h 444"/>
                <a:gd name="T34" fmla="*/ 116 w 458"/>
                <a:gd name="T35" fmla="*/ 407 h 444"/>
                <a:gd name="T36" fmla="*/ 76 w 458"/>
                <a:gd name="T37" fmla="*/ 407 h 444"/>
                <a:gd name="T38" fmla="*/ 76 w 458"/>
                <a:gd name="T39" fmla="*/ 331 h 444"/>
                <a:gd name="T40" fmla="*/ 38 w 458"/>
                <a:gd name="T41" fmla="*/ 331 h 444"/>
                <a:gd name="T42" fmla="*/ 38 w 458"/>
                <a:gd name="T43" fmla="*/ 407 h 444"/>
                <a:gd name="T44" fmla="*/ 0 w 458"/>
                <a:gd name="T45" fmla="*/ 407 h 444"/>
                <a:gd name="T46" fmla="*/ 0 w 458"/>
                <a:gd name="T47" fmla="*/ 444 h 444"/>
                <a:gd name="T48" fmla="*/ 458 w 458"/>
                <a:gd name="T49" fmla="*/ 444 h 444"/>
                <a:gd name="T50" fmla="*/ 458 w 458"/>
                <a:gd name="T51" fmla="*/ 0 h 444"/>
                <a:gd name="T52" fmla="*/ 420 w 458"/>
                <a:gd name="T53" fmla="*/ 0 h 444"/>
                <a:gd name="T54" fmla="*/ 420 w 458"/>
                <a:gd name="T55" fmla="*/ 0 h 444"/>
                <a:gd name="T56" fmla="*/ 420 w 458"/>
                <a:gd name="T57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8" h="444">
                  <a:moveTo>
                    <a:pt x="420" y="0"/>
                  </a:moveTo>
                  <a:lnTo>
                    <a:pt x="420" y="407"/>
                  </a:lnTo>
                  <a:lnTo>
                    <a:pt x="382" y="407"/>
                  </a:lnTo>
                  <a:lnTo>
                    <a:pt x="382" y="295"/>
                  </a:lnTo>
                  <a:lnTo>
                    <a:pt x="344" y="295"/>
                  </a:lnTo>
                  <a:lnTo>
                    <a:pt x="344" y="407"/>
                  </a:lnTo>
                  <a:lnTo>
                    <a:pt x="306" y="407"/>
                  </a:lnTo>
                  <a:lnTo>
                    <a:pt x="306" y="277"/>
                  </a:lnTo>
                  <a:lnTo>
                    <a:pt x="268" y="277"/>
                  </a:lnTo>
                  <a:lnTo>
                    <a:pt x="268" y="407"/>
                  </a:lnTo>
                  <a:lnTo>
                    <a:pt x="230" y="407"/>
                  </a:lnTo>
                  <a:lnTo>
                    <a:pt x="230" y="221"/>
                  </a:lnTo>
                  <a:lnTo>
                    <a:pt x="192" y="221"/>
                  </a:lnTo>
                  <a:lnTo>
                    <a:pt x="192" y="407"/>
                  </a:lnTo>
                  <a:lnTo>
                    <a:pt x="154" y="407"/>
                  </a:lnTo>
                  <a:lnTo>
                    <a:pt x="154" y="111"/>
                  </a:lnTo>
                  <a:lnTo>
                    <a:pt x="116" y="111"/>
                  </a:lnTo>
                  <a:lnTo>
                    <a:pt x="116" y="407"/>
                  </a:lnTo>
                  <a:lnTo>
                    <a:pt x="76" y="407"/>
                  </a:lnTo>
                  <a:lnTo>
                    <a:pt x="76" y="331"/>
                  </a:lnTo>
                  <a:lnTo>
                    <a:pt x="38" y="331"/>
                  </a:lnTo>
                  <a:lnTo>
                    <a:pt x="38" y="407"/>
                  </a:lnTo>
                  <a:lnTo>
                    <a:pt x="0" y="407"/>
                  </a:lnTo>
                  <a:lnTo>
                    <a:pt x="0" y="444"/>
                  </a:lnTo>
                  <a:lnTo>
                    <a:pt x="458" y="444"/>
                  </a:lnTo>
                  <a:lnTo>
                    <a:pt x="458" y="0"/>
                  </a:lnTo>
                  <a:lnTo>
                    <a:pt x="420" y="0"/>
                  </a:lnTo>
                  <a:close/>
                  <a:moveTo>
                    <a:pt x="420" y="0"/>
                  </a:moveTo>
                  <a:lnTo>
                    <a:pt x="4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61B6CBC3-FD79-4662-A0EF-E3742BD83F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1" y="4798"/>
              <a:ext cx="458" cy="444"/>
            </a:xfrm>
            <a:custGeom>
              <a:avLst/>
              <a:gdLst>
                <a:gd name="T0" fmla="*/ 420 w 458"/>
                <a:gd name="T1" fmla="*/ 0 h 444"/>
                <a:gd name="T2" fmla="*/ 420 w 458"/>
                <a:gd name="T3" fmla="*/ 407 h 444"/>
                <a:gd name="T4" fmla="*/ 382 w 458"/>
                <a:gd name="T5" fmla="*/ 407 h 444"/>
                <a:gd name="T6" fmla="*/ 382 w 458"/>
                <a:gd name="T7" fmla="*/ 295 h 444"/>
                <a:gd name="T8" fmla="*/ 344 w 458"/>
                <a:gd name="T9" fmla="*/ 295 h 444"/>
                <a:gd name="T10" fmla="*/ 344 w 458"/>
                <a:gd name="T11" fmla="*/ 407 h 444"/>
                <a:gd name="T12" fmla="*/ 306 w 458"/>
                <a:gd name="T13" fmla="*/ 407 h 444"/>
                <a:gd name="T14" fmla="*/ 306 w 458"/>
                <a:gd name="T15" fmla="*/ 277 h 444"/>
                <a:gd name="T16" fmla="*/ 268 w 458"/>
                <a:gd name="T17" fmla="*/ 277 h 444"/>
                <a:gd name="T18" fmla="*/ 268 w 458"/>
                <a:gd name="T19" fmla="*/ 407 h 444"/>
                <a:gd name="T20" fmla="*/ 230 w 458"/>
                <a:gd name="T21" fmla="*/ 407 h 444"/>
                <a:gd name="T22" fmla="*/ 230 w 458"/>
                <a:gd name="T23" fmla="*/ 221 h 444"/>
                <a:gd name="T24" fmla="*/ 192 w 458"/>
                <a:gd name="T25" fmla="*/ 221 h 444"/>
                <a:gd name="T26" fmla="*/ 192 w 458"/>
                <a:gd name="T27" fmla="*/ 407 h 444"/>
                <a:gd name="T28" fmla="*/ 154 w 458"/>
                <a:gd name="T29" fmla="*/ 407 h 444"/>
                <a:gd name="T30" fmla="*/ 154 w 458"/>
                <a:gd name="T31" fmla="*/ 111 h 444"/>
                <a:gd name="T32" fmla="*/ 116 w 458"/>
                <a:gd name="T33" fmla="*/ 111 h 444"/>
                <a:gd name="T34" fmla="*/ 116 w 458"/>
                <a:gd name="T35" fmla="*/ 407 h 444"/>
                <a:gd name="T36" fmla="*/ 76 w 458"/>
                <a:gd name="T37" fmla="*/ 407 h 444"/>
                <a:gd name="T38" fmla="*/ 76 w 458"/>
                <a:gd name="T39" fmla="*/ 331 h 444"/>
                <a:gd name="T40" fmla="*/ 38 w 458"/>
                <a:gd name="T41" fmla="*/ 331 h 444"/>
                <a:gd name="T42" fmla="*/ 38 w 458"/>
                <a:gd name="T43" fmla="*/ 407 h 444"/>
                <a:gd name="T44" fmla="*/ 0 w 458"/>
                <a:gd name="T45" fmla="*/ 407 h 444"/>
                <a:gd name="T46" fmla="*/ 0 w 458"/>
                <a:gd name="T47" fmla="*/ 444 h 444"/>
                <a:gd name="T48" fmla="*/ 458 w 458"/>
                <a:gd name="T49" fmla="*/ 444 h 444"/>
                <a:gd name="T50" fmla="*/ 458 w 458"/>
                <a:gd name="T51" fmla="*/ 0 h 444"/>
                <a:gd name="T52" fmla="*/ 420 w 458"/>
                <a:gd name="T53" fmla="*/ 0 h 444"/>
                <a:gd name="T54" fmla="*/ 420 w 458"/>
                <a:gd name="T55" fmla="*/ 0 h 444"/>
                <a:gd name="T56" fmla="*/ 420 w 458"/>
                <a:gd name="T57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8" h="444">
                  <a:moveTo>
                    <a:pt x="420" y="0"/>
                  </a:moveTo>
                  <a:lnTo>
                    <a:pt x="420" y="407"/>
                  </a:lnTo>
                  <a:lnTo>
                    <a:pt x="382" y="407"/>
                  </a:lnTo>
                  <a:lnTo>
                    <a:pt x="382" y="295"/>
                  </a:lnTo>
                  <a:lnTo>
                    <a:pt x="344" y="295"/>
                  </a:lnTo>
                  <a:lnTo>
                    <a:pt x="344" y="407"/>
                  </a:lnTo>
                  <a:lnTo>
                    <a:pt x="306" y="407"/>
                  </a:lnTo>
                  <a:lnTo>
                    <a:pt x="306" y="277"/>
                  </a:lnTo>
                  <a:lnTo>
                    <a:pt x="268" y="277"/>
                  </a:lnTo>
                  <a:lnTo>
                    <a:pt x="268" y="407"/>
                  </a:lnTo>
                  <a:lnTo>
                    <a:pt x="230" y="407"/>
                  </a:lnTo>
                  <a:lnTo>
                    <a:pt x="230" y="221"/>
                  </a:lnTo>
                  <a:lnTo>
                    <a:pt x="192" y="221"/>
                  </a:lnTo>
                  <a:lnTo>
                    <a:pt x="192" y="407"/>
                  </a:lnTo>
                  <a:lnTo>
                    <a:pt x="154" y="407"/>
                  </a:lnTo>
                  <a:lnTo>
                    <a:pt x="154" y="111"/>
                  </a:lnTo>
                  <a:lnTo>
                    <a:pt x="116" y="111"/>
                  </a:lnTo>
                  <a:lnTo>
                    <a:pt x="116" y="407"/>
                  </a:lnTo>
                  <a:lnTo>
                    <a:pt x="76" y="407"/>
                  </a:lnTo>
                  <a:lnTo>
                    <a:pt x="76" y="331"/>
                  </a:lnTo>
                  <a:lnTo>
                    <a:pt x="38" y="331"/>
                  </a:lnTo>
                  <a:lnTo>
                    <a:pt x="38" y="407"/>
                  </a:lnTo>
                  <a:lnTo>
                    <a:pt x="0" y="407"/>
                  </a:lnTo>
                  <a:lnTo>
                    <a:pt x="0" y="444"/>
                  </a:lnTo>
                  <a:lnTo>
                    <a:pt x="458" y="444"/>
                  </a:lnTo>
                  <a:lnTo>
                    <a:pt x="458" y="0"/>
                  </a:lnTo>
                  <a:lnTo>
                    <a:pt x="420" y="0"/>
                  </a:lnTo>
                  <a:moveTo>
                    <a:pt x="420" y="0"/>
                  </a:moveTo>
                  <a:lnTo>
                    <a:pt x="42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9BF7259B-36AE-42F2-BDB6-CA3915945D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0" y="4411"/>
              <a:ext cx="207" cy="203"/>
            </a:xfrm>
            <a:custGeom>
              <a:avLst/>
              <a:gdLst>
                <a:gd name="T0" fmla="*/ 51 w 93"/>
                <a:gd name="T1" fmla="*/ 0 h 94"/>
                <a:gd name="T2" fmla="*/ 0 w 93"/>
                <a:gd name="T3" fmla="*/ 51 h 94"/>
                <a:gd name="T4" fmla="*/ 0 w 93"/>
                <a:gd name="T5" fmla="*/ 94 h 94"/>
                <a:gd name="T6" fmla="*/ 17 w 93"/>
                <a:gd name="T7" fmla="*/ 94 h 94"/>
                <a:gd name="T8" fmla="*/ 17 w 93"/>
                <a:gd name="T9" fmla="*/ 51 h 94"/>
                <a:gd name="T10" fmla="*/ 51 w 93"/>
                <a:gd name="T11" fmla="*/ 17 h 94"/>
                <a:gd name="T12" fmla="*/ 93 w 93"/>
                <a:gd name="T13" fmla="*/ 17 h 94"/>
                <a:gd name="T14" fmla="*/ 93 w 93"/>
                <a:gd name="T15" fmla="*/ 0 h 94"/>
                <a:gd name="T16" fmla="*/ 51 w 93"/>
                <a:gd name="T17" fmla="*/ 0 h 94"/>
                <a:gd name="T18" fmla="*/ 51 w 93"/>
                <a:gd name="T19" fmla="*/ 0 h 94"/>
                <a:gd name="T20" fmla="*/ 51 w 93"/>
                <a:gd name="T2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3" h="94"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32"/>
                    <a:pt x="32" y="17"/>
                    <a:pt x="51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0"/>
                    <a:pt x="93" y="0"/>
                    <a:pt x="93" y="0"/>
                  </a:cubicBezTo>
                  <a:lnTo>
                    <a:pt x="51" y="0"/>
                  </a:lnTo>
                  <a:close/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Rectangle 25">
              <a:extLst>
                <a:ext uri="{FF2B5EF4-FFF2-40B4-BE49-F238E27FC236}">
                  <a16:creationId xmlns:a16="http://schemas.microsoft.com/office/drawing/2014/main" id="{627B8248-1954-4EA8-A86D-21DAF30DF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7" y="5296"/>
              <a:ext cx="38" cy="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6">
              <a:extLst>
                <a:ext uri="{FF2B5EF4-FFF2-40B4-BE49-F238E27FC236}">
                  <a16:creationId xmlns:a16="http://schemas.microsoft.com/office/drawing/2014/main" id="{322A6646-FE05-4528-BFE7-94F0DB6DAC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3" y="5296"/>
              <a:ext cx="286" cy="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Rectangle 27">
              <a:extLst>
                <a:ext uri="{FF2B5EF4-FFF2-40B4-BE49-F238E27FC236}">
                  <a16:creationId xmlns:a16="http://schemas.microsoft.com/office/drawing/2014/main" id="{6A8315B0-9051-4D19-A909-7F9D6697D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5" y="4411"/>
              <a:ext cx="344" cy="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8" name="Oval 57">
            <a:extLst>
              <a:ext uri="{FF2B5EF4-FFF2-40B4-BE49-F238E27FC236}">
                <a16:creationId xmlns:a16="http://schemas.microsoft.com/office/drawing/2014/main" id="{FCBD7454-7927-4CED-8B22-0E89345F3F2D}"/>
              </a:ext>
            </a:extLst>
          </p:cNvPr>
          <p:cNvSpPr/>
          <p:nvPr/>
        </p:nvSpPr>
        <p:spPr bwMode="gray">
          <a:xfrm>
            <a:off x="4084004" y="2695822"/>
            <a:ext cx="227416" cy="227416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5CEE592-BD4E-4107-807E-5C39A3317EFB}"/>
              </a:ext>
            </a:extLst>
          </p:cNvPr>
          <p:cNvGrpSpPr/>
          <p:nvPr/>
        </p:nvGrpSpPr>
        <p:grpSpPr>
          <a:xfrm>
            <a:off x="4207048" y="2110398"/>
            <a:ext cx="1337549" cy="694394"/>
            <a:chOff x="4207048" y="2110398"/>
            <a:chExt cx="1337549" cy="694394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50635576-2736-4706-AEFF-548320266983}"/>
                </a:ext>
              </a:extLst>
            </p:cNvPr>
            <p:cNvCxnSpPr>
              <a:cxnSpLocks/>
            </p:cNvCxnSpPr>
            <p:nvPr/>
          </p:nvCxnSpPr>
          <p:spPr>
            <a:xfrm>
              <a:off x="4922598" y="2110398"/>
              <a:ext cx="621999" cy="0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7D45BDA-C4FC-49AB-A250-FCD6A639F1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07048" y="2129350"/>
              <a:ext cx="696600" cy="675442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Oval 87">
            <a:extLst>
              <a:ext uri="{FF2B5EF4-FFF2-40B4-BE49-F238E27FC236}">
                <a16:creationId xmlns:a16="http://schemas.microsoft.com/office/drawing/2014/main" id="{FF0C98C5-4079-4685-8258-420B338C93D7}"/>
              </a:ext>
            </a:extLst>
          </p:cNvPr>
          <p:cNvSpPr/>
          <p:nvPr/>
        </p:nvSpPr>
        <p:spPr bwMode="gray">
          <a:xfrm>
            <a:off x="4400526" y="3338129"/>
            <a:ext cx="227416" cy="227416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CFF3E96F-FFC3-4145-A97A-A11D1F86F6D6}"/>
              </a:ext>
            </a:extLst>
          </p:cNvPr>
          <p:cNvSpPr/>
          <p:nvPr/>
        </p:nvSpPr>
        <p:spPr bwMode="gray">
          <a:xfrm>
            <a:off x="4465378" y="3974924"/>
            <a:ext cx="227416" cy="227416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69F160FB-5739-4BDF-9C32-AD8264318671}"/>
              </a:ext>
            </a:extLst>
          </p:cNvPr>
          <p:cNvSpPr/>
          <p:nvPr/>
        </p:nvSpPr>
        <p:spPr bwMode="gray">
          <a:xfrm>
            <a:off x="4374283" y="4521862"/>
            <a:ext cx="227416" cy="227416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CBD2B340-FC41-44E2-964B-C4F6EC7AFF73}"/>
              </a:ext>
            </a:extLst>
          </p:cNvPr>
          <p:cNvSpPr/>
          <p:nvPr/>
        </p:nvSpPr>
        <p:spPr bwMode="gray">
          <a:xfrm>
            <a:off x="4097404" y="5084699"/>
            <a:ext cx="227416" cy="227416"/>
          </a:xfrm>
          <a:prstGeom prst="ellipse">
            <a:avLst/>
          </a:prstGeom>
          <a:solidFill>
            <a:srgbClr val="00A3E0">
              <a:alpha val="34000"/>
            </a:srgbClr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986955B4-D4A9-417A-8BEC-27F9F1DD2A74}"/>
              </a:ext>
            </a:extLst>
          </p:cNvPr>
          <p:cNvCxnSpPr>
            <a:cxnSpLocks/>
          </p:cNvCxnSpPr>
          <p:nvPr/>
        </p:nvCxnSpPr>
        <p:spPr>
          <a:xfrm>
            <a:off x="4579425" y="4091768"/>
            <a:ext cx="965172" cy="0"/>
          </a:xfrm>
          <a:prstGeom prst="line">
            <a:avLst/>
          </a:prstGeom>
          <a:ln w="15875" cap="rnd">
            <a:solidFill>
              <a:schemeClr val="bg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DE936E2-FA1B-4399-B0B4-1CFB8CBB4A47}"/>
              </a:ext>
            </a:extLst>
          </p:cNvPr>
          <p:cNvGrpSpPr/>
          <p:nvPr/>
        </p:nvGrpSpPr>
        <p:grpSpPr>
          <a:xfrm>
            <a:off x="4207049" y="5198407"/>
            <a:ext cx="1393083" cy="747346"/>
            <a:chOff x="4207049" y="5198407"/>
            <a:chExt cx="1393083" cy="747346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484233C2-410A-4807-9DB7-D138878EBD1C}"/>
                </a:ext>
              </a:extLst>
            </p:cNvPr>
            <p:cNvCxnSpPr>
              <a:cxnSpLocks/>
            </p:cNvCxnSpPr>
            <p:nvPr/>
          </p:nvCxnSpPr>
          <p:spPr>
            <a:xfrm>
              <a:off x="4978133" y="5945753"/>
              <a:ext cx="621999" cy="0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D61D5B3F-FDD2-4EF1-9FF4-AE088EE5C26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07049" y="5198407"/>
              <a:ext cx="741652" cy="747345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24B5A01-297A-4FC1-BEB5-25C05A791FA0}"/>
              </a:ext>
            </a:extLst>
          </p:cNvPr>
          <p:cNvGrpSpPr/>
          <p:nvPr/>
        </p:nvGrpSpPr>
        <p:grpSpPr>
          <a:xfrm>
            <a:off x="4523386" y="3151206"/>
            <a:ext cx="1021211" cy="300631"/>
            <a:chOff x="4523386" y="3151206"/>
            <a:chExt cx="1021211" cy="300631"/>
          </a:xfrm>
        </p:grpSpPr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7EF48578-389D-4BEF-A45B-3191CBB81511}"/>
                </a:ext>
              </a:extLst>
            </p:cNvPr>
            <p:cNvCxnSpPr>
              <a:cxnSpLocks/>
            </p:cNvCxnSpPr>
            <p:nvPr/>
          </p:nvCxnSpPr>
          <p:spPr>
            <a:xfrm>
              <a:off x="4922598" y="3151712"/>
              <a:ext cx="621999" cy="0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E5EAD347-F34C-4205-9D7A-4A30576A4C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3386" y="3151206"/>
              <a:ext cx="371734" cy="300631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1609B99-BFF8-432F-8542-96EC62EFB6AD}"/>
              </a:ext>
            </a:extLst>
          </p:cNvPr>
          <p:cNvGrpSpPr/>
          <p:nvPr/>
        </p:nvGrpSpPr>
        <p:grpSpPr>
          <a:xfrm>
            <a:off x="4487991" y="4634811"/>
            <a:ext cx="1056606" cy="391402"/>
            <a:chOff x="4487991" y="4634811"/>
            <a:chExt cx="1056606" cy="391402"/>
          </a:xfrm>
        </p:grpSpPr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20032D42-15B0-420F-A943-9DB4F968FA5B}"/>
                </a:ext>
              </a:extLst>
            </p:cNvPr>
            <p:cNvCxnSpPr>
              <a:cxnSpLocks/>
            </p:cNvCxnSpPr>
            <p:nvPr/>
          </p:nvCxnSpPr>
          <p:spPr>
            <a:xfrm>
              <a:off x="4922598" y="5026213"/>
              <a:ext cx="621999" cy="0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F6138207-8AFD-4292-830F-23D35667751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87991" y="4634811"/>
              <a:ext cx="419702" cy="391183"/>
            </a:xfrm>
            <a:prstGeom prst="line">
              <a:avLst/>
            </a:prstGeom>
            <a:ln w="15875" cap="rnd">
              <a:solidFill>
                <a:schemeClr val="bg1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itle 21">
            <a:extLst>
              <a:ext uri="{FF2B5EF4-FFF2-40B4-BE49-F238E27FC236}">
                <a16:creationId xmlns:a16="http://schemas.microsoft.com/office/drawing/2014/main" id="{717367B2-7FA5-4AFE-A869-462452B82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Data Analysis</a:t>
            </a:r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5792199-C072-432A-8B6C-4BF6249450D5}"/>
              </a:ext>
            </a:extLst>
          </p:cNvPr>
          <p:cNvSpPr/>
          <p:nvPr/>
        </p:nvSpPr>
        <p:spPr>
          <a:xfrm>
            <a:off x="391709" y="815224"/>
            <a:ext cx="113009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prstClr val="white"/>
                </a:solidFill>
                <a:latin typeface="Calibri"/>
              </a:rPr>
              <a:t>Approaching the Data at Han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6794418"/>
      </p:ext>
    </p:extLst>
  </p:cSld>
  <p:clrMapOvr>
    <a:masterClrMapping/>
  </p:clrMapOvr>
  <p:transition>
    <p:fade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grpId="0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3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5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8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0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9" dur="75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10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7" dur="1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1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125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3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4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4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0" dur="25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55" presetID="2" presetClass="entr" presetSubtype="2" fill="hold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57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58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1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5" fill="hold">
                                <p:stCondLst>
                                  <p:cond delay="4250"/>
                                </p:stCondLst>
                                <p:childTnLst>
                                  <p:par>
                                    <p:cTn id="6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8" dur="25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9" dur="25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0" dur="250"/>
                                            <p:tgtEl>
                                              <p:spTgt spid="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3" dur="500"/>
                                            <p:tgtEl>
                                              <p:spTgt spid="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4750"/>
                                </p:stCondLst>
                                <p:childTnLst>
                                  <p:par>
                                    <p:cTn id="75" presetID="2" presetClass="entr" presetSubtype="2" fill="hold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77" dur="5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78" dur="5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9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1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5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8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8" dur="25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9" dur="25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0" dur="250"/>
                                            <p:tgtEl>
                                              <p:spTgt spid="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1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92" presetID="2" presetClass="entr" presetSubtype="2" fill="hold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94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95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6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8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9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1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4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5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10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8" dur="25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9" dur="25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10" dur="250"/>
                                            <p:tgtEl>
                                              <p:spTgt spid="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1" fill="hold">
                                <p:stCondLst>
                                  <p:cond delay="6750"/>
                                </p:stCondLst>
                                <p:childTnLst>
                                  <p:par>
                                    <p:cTn id="112" presetID="2" presetClass="entr" presetSubtype="2" fill="hold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14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15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6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8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9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21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4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5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12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8" dur="25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9" dur="25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30" dur="25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1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33" dur="500"/>
                                            <p:tgtEl>
                                              <p:spTgt spid="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4" fill="hold">
                                <p:stCondLst>
                                  <p:cond delay="8000"/>
                                </p:stCondLst>
                                <p:childTnLst>
                                  <p:par>
                                    <p:cTn id="135" presetID="2" presetClass="entr" presetSubtype="2" fill="hold" nodeType="after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37" dur="500" fill="hold"/>
                                            <p:tgtEl>
                                              <p:spTgt spid="2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38" dur="500" fill="hold"/>
                                            <p:tgtEl>
                                              <p:spTgt spid="2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41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2" presetID="10" presetClass="entr" presetSubtype="0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4" dur="500"/>
                                            <p:tgtEl>
                                              <p:spTgt spid="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6" grpId="0" animBg="1"/>
          <p:bldP spid="37" grpId="0" animBg="1"/>
          <p:bldP spid="14" grpId="0" animBg="1"/>
          <p:bldP spid="6" grpId="0" animBg="1"/>
          <p:bldP spid="12" grpId="0" animBg="1"/>
          <p:bldP spid="7" grpId="0" animBg="1"/>
          <p:bldP spid="19" grpId="0"/>
          <p:bldP spid="23" grpId="0"/>
          <p:bldP spid="27" grpId="0"/>
          <p:bldP spid="31" grpId="0"/>
          <p:bldP spid="35" grpId="0"/>
          <p:bldP spid="58" grpId="0" animBg="1"/>
          <p:bldP spid="88" grpId="0" animBg="1"/>
          <p:bldP spid="89" grpId="0" animBg="1"/>
          <p:bldP spid="90" grpId="0" animBg="1"/>
          <p:bldP spid="91" grpId="0" animBg="1"/>
          <p:bldP spid="22" grpId="0"/>
          <p:bldP spid="2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10" presetClass="entr" presetSubtype="0" fill="hold" grpId="0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3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5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8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0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9" dur="75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10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7" dur="1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12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125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3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4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4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2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0" dur="25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3" dur="5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5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7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8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1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5" fill="hold">
                                <p:stCondLst>
                                  <p:cond delay="4250"/>
                                </p:stCondLst>
                                <p:childTnLst>
                                  <p:par>
                                    <p:cTn id="6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8" dur="25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9" dur="25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0" dur="250"/>
                                            <p:tgtEl>
                                              <p:spTgt spid="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3" dur="500"/>
                                            <p:tgtEl>
                                              <p:spTgt spid="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4" fill="hold">
                                <p:stCondLst>
                                  <p:cond delay="4750"/>
                                </p:stCondLst>
                                <p:childTnLst>
                                  <p:par>
                                    <p:cTn id="7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7" dur="5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8" dur="5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9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1" dur="500"/>
                                            <p:tgtEl>
                                              <p:spTgt spid="3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5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8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8" dur="25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9" dur="25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0" dur="250"/>
                                            <p:tgtEl>
                                              <p:spTgt spid="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1" fill="hold">
                                <p:stCondLst>
                                  <p:cond delay="5750"/>
                                </p:stCondLst>
                                <p:childTnLst>
                                  <p:par>
                                    <p:cTn id="92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4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5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6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8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9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1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4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5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10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8" dur="25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9" dur="25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10" dur="250"/>
                                            <p:tgtEl>
                                              <p:spTgt spid="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1" fill="hold">
                                <p:stCondLst>
                                  <p:cond delay="6750"/>
                                </p:stCondLst>
                                <p:childTnLst>
                                  <p:par>
                                    <p:cTn id="112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4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5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6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8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9" presetID="22" presetClass="entr" presetSubtype="8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21" dur="5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2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4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5" fill="hold">
                                <p:stCondLst>
                                  <p:cond delay="7500"/>
                                </p:stCondLst>
                                <p:childTnLst>
                                  <p:par>
                                    <p:cTn id="12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8" dur="25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29" dur="25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30" dur="25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1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33" dur="500"/>
                                            <p:tgtEl>
                                              <p:spTgt spid="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4" fill="hold">
                                <p:stCondLst>
                                  <p:cond delay="8000"/>
                                </p:stCondLst>
                                <p:childTnLst>
                                  <p:par>
                                    <p:cTn id="13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7" dur="500" fill="hold"/>
                                            <p:tgtEl>
                                              <p:spTgt spid="2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8" dur="500" fill="hold"/>
                                            <p:tgtEl>
                                              <p:spTgt spid="2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9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41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2" presetID="10" presetClass="entr" presetSubtype="0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4" dur="500"/>
                                            <p:tgtEl>
                                              <p:spTgt spid="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6" grpId="0" animBg="1"/>
          <p:bldP spid="37" grpId="0" animBg="1"/>
          <p:bldP spid="14" grpId="0" animBg="1"/>
          <p:bldP spid="6" grpId="0" animBg="1"/>
          <p:bldP spid="12" grpId="0" animBg="1"/>
          <p:bldP spid="7" grpId="0" animBg="1"/>
          <p:bldP spid="19" grpId="0"/>
          <p:bldP spid="23" grpId="0"/>
          <p:bldP spid="27" grpId="0"/>
          <p:bldP spid="31" grpId="0"/>
          <p:bldP spid="35" grpId="0"/>
          <p:bldP spid="58" grpId="0" animBg="1"/>
          <p:bldP spid="88" grpId="0" animBg="1"/>
          <p:bldP spid="89" grpId="0" animBg="1"/>
          <p:bldP spid="90" grpId="0" animBg="1"/>
          <p:bldP spid="91" grpId="0" animBg="1"/>
          <p:bldP spid="22" grpId="0"/>
          <p:bldP spid="29" grpId="0"/>
        </p:bldLst>
      </p:timing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GB"/>
              <a:t>Horror Movies Have the Highest Median Profit over Production Budget (POPB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Data Analysis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31A07C-6E7C-790F-A440-026007223C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04036" y="1366668"/>
            <a:ext cx="9234803" cy="51738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6E60A94-4D90-2125-B1B6-6A61E77EBEC3}"/>
              </a:ext>
            </a:extLst>
          </p:cNvPr>
          <p:cNvSpPr txBox="1"/>
          <p:nvPr/>
        </p:nvSpPr>
        <p:spPr>
          <a:xfrm>
            <a:off x="1756394" y="1759351"/>
            <a:ext cx="10713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>
                <a:solidFill>
                  <a:srgbClr val="313131"/>
                </a:solidFill>
              </a:rPr>
              <a:t>*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C7F689-8DFF-AA60-19A7-51EBB3AF3B27}"/>
              </a:ext>
            </a:extLst>
          </p:cNvPr>
          <p:cNvSpPr txBox="1"/>
          <p:nvPr/>
        </p:nvSpPr>
        <p:spPr>
          <a:xfrm>
            <a:off x="9023497" y="1149810"/>
            <a:ext cx="24306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>
                <a:solidFill>
                  <a:srgbClr val="313131"/>
                </a:solidFill>
              </a:rPr>
              <a:t>* Due to production techniques</a:t>
            </a:r>
          </a:p>
        </p:txBody>
      </p:sp>
    </p:spTree>
    <p:extLst>
      <p:ext uri="{BB962C8B-B14F-4D97-AF65-F5344CB8AC3E}">
        <p14:creationId xmlns:p14="http://schemas.microsoft.com/office/powerpoint/2010/main" val="85910095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>
            <a:extLst>
              <a:ext uri="{FF2B5EF4-FFF2-40B4-BE49-F238E27FC236}">
                <a16:creationId xmlns:a16="http://schemas.microsoft.com/office/drawing/2014/main" id="{CDB5A77F-C239-204B-343D-C5C61C63A4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209944" y="1157468"/>
            <a:ext cx="7451123" cy="5383032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GB"/>
              <a:t>Horror Movies Offer a Unique Profit Opportunit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Data Analysis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4C09060-241C-B6FE-E0B9-FD4005DD2B08}"/>
              </a:ext>
            </a:extLst>
          </p:cNvPr>
          <p:cNvSpPr/>
          <p:nvPr/>
        </p:nvSpPr>
        <p:spPr bwMode="gray">
          <a:xfrm>
            <a:off x="2961806" y="3305387"/>
            <a:ext cx="740778" cy="1972668"/>
          </a:xfrm>
          <a:prstGeom prst="rect">
            <a:avLst/>
          </a:prstGeom>
          <a:noFill/>
          <a:ln w="190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6444EA-6079-C104-61F1-B609CB4A6779}"/>
              </a:ext>
            </a:extLst>
          </p:cNvPr>
          <p:cNvSpPr/>
          <p:nvPr/>
        </p:nvSpPr>
        <p:spPr bwMode="gray">
          <a:xfrm>
            <a:off x="4640642" y="1510748"/>
            <a:ext cx="740778" cy="3767307"/>
          </a:xfrm>
          <a:prstGeom prst="rect">
            <a:avLst/>
          </a:prstGeom>
          <a:noFill/>
          <a:ln w="190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9595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2092E4-2E6E-4631-B89D-72FDB75A8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134" y="438970"/>
            <a:ext cx="11188700" cy="334099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EDBECE-7297-4111-9FA4-878D98EA5F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4856" y="2706508"/>
            <a:ext cx="10198151" cy="3886588"/>
          </a:xfrm>
          <a:prstGeom prst="rect">
            <a:avLst/>
          </a:prstGeom>
        </p:spPr>
      </p:pic>
      <p:sp>
        <p:nvSpPr>
          <p:cNvPr id="6" name="Freeform 15">
            <a:extLst>
              <a:ext uri="{FF2B5EF4-FFF2-40B4-BE49-F238E27FC236}">
                <a16:creationId xmlns:a16="http://schemas.microsoft.com/office/drawing/2014/main" id="{FE103979-C845-4E21-81EE-70D6C44D9D71}"/>
              </a:ext>
            </a:extLst>
          </p:cNvPr>
          <p:cNvSpPr/>
          <p:nvPr/>
        </p:nvSpPr>
        <p:spPr bwMode="gray">
          <a:xfrm>
            <a:off x="1759719" y="3002400"/>
            <a:ext cx="8987246" cy="2943497"/>
          </a:xfrm>
          <a:custGeom>
            <a:avLst/>
            <a:gdLst>
              <a:gd name="connsiteX0" fmla="*/ 0 w 8987246"/>
              <a:gd name="connsiteY0" fmla="*/ 0 h 2943497"/>
              <a:gd name="connsiteX1" fmla="*/ 740229 w 8987246"/>
              <a:gd name="connsiteY1" fmla="*/ 391885 h 2943497"/>
              <a:gd name="connsiteX2" fmla="*/ 2899954 w 8987246"/>
              <a:gd name="connsiteY2" fmla="*/ 592182 h 2943497"/>
              <a:gd name="connsiteX3" fmla="*/ 3971109 w 8987246"/>
              <a:gd name="connsiteY3" fmla="*/ 757645 h 2943497"/>
              <a:gd name="connsiteX4" fmla="*/ 4632960 w 8987246"/>
              <a:gd name="connsiteY4" fmla="*/ 1140822 h 2943497"/>
              <a:gd name="connsiteX5" fmla="*/ 4101737 w 8987246"/>
              <a:gd name="connsiteY5" fmla="*/ 1541417 h 2943497"/>
              <a:gd name="connsiteX6" fmla="*/ 2629989 w 8987246"/>
              <a:gd name="connsiteY6" fmla="*/ 1889760 h 2943497"/>
              <a:gd name="connsiteX7" fmla="*/ 3248297 w 8987246"/>
              <a:gd name="connsiteY7" fmla="*/ 2360022 h 2943497"/>
              <a:gd name="connsiteX8" fmla="*/ 6261463 w 8987246"/>
              <a:gd name="connsiteY8" fmla="*/ 2812868 h 2943497"/>
              <a:gd name="connsiteX9" fmla="*/ 8987246 w 8987246"/>
              <a:gd name="connsiteY9" fmla="*/ 2943497 h 2943497"/>
              <a:gd name="connsiteX10" fmla="*/ 8987246 w 8987246"/>
              <a:gd name="connsiteY10" fmla="*/ 2943497 h 2943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987246" h="2943497">
                <a:moveTo>
                  <a:pt x="0" y="0"/>
                </a:moveTo>
                <a:cubicBezTo>
                  <a:pt x="128451" y="146594"/>
                  <a:pt x="256903" y="293188"/>
                  <a:pt x="740229" y="391885"/>
                </a:cubicBezTo>
                <a:cubicBezTo>
                  <a:pt x="1223555" y="490582"/>
                  <a:pt x="2361474" y="531222"/>
                  <a:pt x="2899954" y="592182"/>
                </a:cubicBezTo>
                <a:cubicBezTo>
                  <a:pt x="3438434" y="653142"/>
                  <a:pt x="3682275" y="666205"/>
                  <a:pt x="3971109" y="757645"/>
                </a:cubicBezTo>
                <a:cubicBezTo>
                  <a:pt x="4259943" y="849085"/>
                  <a:pt x="4611189" y="1010193"/>
                  <a:pt x="4632960" y="1140822"/>
                </a:cubicBezTo>
                <a:cubicBezTo>
                  <a:pt x="4654731" y="1271451"/>
                  <a:pt x="4435565" y="1416594"/>
                  <a:pt x="4101737" y="1541417"/>
                </a:cubicBezTo>
                <a:cubicBezTo>
                  <a:pt x="3767909" y="1666240"/>
                  <a:pt x="2772229" y="1753326"/>
                  <a:pt x="2629989" y="1889760"/>
                </a:cubicBezTo>
                <a:cubicBezTo>
                  <a:pt x="2487749" y="2026194"/>
                  <a:pt x="2643051" y="2206171"/>
                  <a:pt x="3248297" y="2360022"/>
                </a:cubicBezTo>
                <a:cubicBezTo>
                  <a:pt x="3853543" y="2513873"/>
                  <a:pt x="5304972" y="2715622"/>
                  <a:pt x="6261463" y="2812868"/>
                </a:cubicBezTo>
                <a:cubicBezTo>
                  <a:pt x="7217955" y="2910114"/>
                  <a:pt x="8987246" y="2943497"/>
                  <a:pt x="8987246" y="2943497"/>
                </a:cubicBezTo>
                <a:lnTo>
                  <a:pt x="8987246" y="2943497"/>
                </a:lnTo>
              </a:path>
            </a:pathLst>
          </a:custGeom>
          <a:noFill/>
          <a:ln w="76200" algn="ctr">
            <a:gradFill>
              <a:gsLst>
                <a:gs pos="0">
                  <a:srgbClr val="F5F5F6"/>
                </a:gs>
                <a:gs pos="20000">
                  <a:schemeClr val="bg1"/>
                </a:gs>
                <a:gs pos="85000">
                  <a:schemeClr val="bg1"/>
                </a:gs>
                <a:gs pos="100000">
                  <a:srgbClr val="D1D2D4"/>
                </a:gs>
              </a:gsLst>
              <a:lin ang="5400000" scaled="1"/>
            </a:gradFill>
            <a:miter lim="800000"/>
            <a:headEnd/>
            <a:tailEnd type="triangle"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6D6F272-0A73-4810-A599-FD1C3BC5B09D}"/>
              </a:ext>
            </a:extLst>
          </p:cNvPr>
          <p:cNvGrpSpPr/>
          <p:nvPr/>
        </p:nvGrpSpPr>
        <p:grpSpPr>
          <a:xfrm>
            <a:off x="1178356" y="1669601"/>
            <a:ext cx="2637426" cy="1453494"/>
            <a:chOff x="441307" y="1212162"/>
            <a:chExt cx="2637426" cy="1453494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31F7A14-08A4-4C84-98A7-D8AFA4B0DE7F}"/>
                </a:ext>
              </a:extLst>
            </p:cNvPr>
            <p:cNvSpPr txBox="1"/>
            <p:nvPr/>
          </p:nvSpPr>
          <p:spPr>
            <a:xfrm>
              <a:off x="847480" y="1395051"/>
              <a:ext cx="223125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R="0" lvl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A635CE5-F277-421A-8CDC-E20084F4EFE1}"/>
                </a:ext>
              </a:extLst>
            </p:cNvPr>
            <p:cNvSpPr txBox="1"/>
            <p:nvPr/>
          </p:nvSpPr>
          <p:spPr>
            <a:xfrm>
              <a:off x="441307" y="1212162"/>
              <a:ext cx="25844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prstClr val="black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1.</a:t>
              </a:r>
              <a:r>
                <a:rPr lang="en-US" sz="1000" b="1">
                  <a:solidFill>
                    <a:prstClr val="black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Data </a:t>
              </a:r>
              <a:r>
                <a:rPr lang="en-US" b="1">
                  <a:solidFill>
                    <a:prstClr val="black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Understanding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  </a:t>
              </a: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106EB860-5138-4015-A267-7F9CD313991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3770" y="2386324"/>
              <a:ext cx="193554" cy="279332"/>
            </a:xfrm>
            <a:custGeom>
              <a:avLst/>
              <a:gdLst>
                <a:gd name="T0" fmla="*/ 37 w 74"/>
                <a:gd name="T1" fmla="*/ 0 h 118"/>
                <a:gd name="T2" fmla="*/ 0 w 74"/>
                <a:gd name="T3" fmla="*/ 37 h 118"/>
                <a:gd name="T4" fmla="*/ 37 w 74"/>
                <a:gd name="T5" fmla="*/ 118 h 118"/>
                <a:gd name="T6" fmla="*/ 74 w 74"/>
                <a:gd name="T7" fmla="*/ 37 h 118"/>
                <a:gd name="T8" fmla="*/ 37 w 74"/>
                <a:gd name="T9" fmla="*/ 0 h 118"/>
                <a:gd name="T10" fmla="*/ 37 w 74"/>
                <a:gd name="T11" fmla="*/ 57 h 118"/>
                <a:gd name="T12" fmla="*/ 17 w 74"/>
                <a:gd name="T13" fmla="*/ 37 h 118"/>
                <a:gd name="T14" fmla="*/ 37 w 74"/>
                <a:gd name="T15" fmla="*/ 17 h 118"/>
                <a:gd name="T16" fmla="*/ 57 w 74"/>
                <a:gd name="T17" fmla="*/ 37 h 118"/>
                <a:gd name="T18" fmla="*/ 37 w 74"/>
                <a:gd name="T19" fmla="*/ 5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18">
                  <a:moveTo>
                    <a:pt x="37" y="0"/>
                  </a:moveTo>
                  <a:cubicBezTo>
                    <a:pt x="16" y="0"/>
                    <a:pt x="0" y="16"/>
                    <a:pt x="0" y="37"/>
                  </a:cubicBezTo>
                  <a:cubicBezTo>
                    <a:pt x="0" y="72"/>
                    <a:pt x="37" y="118"/>
                    <a:pt x="37" y="118"/>
                  </a:cubicBezTo>
                  <a:cubicBezTo>
                    <a:pt x="37" y="118"/>
                    <a:pt x="74" y="72"/>
                    <a:pt x="74" y="37"/>
                  </a:cubicBezTo>
                  <a:cubicBezTo>
                    <a:pt x="74" y="16"/>
                    <a:pt x="57" y="0"/>
                    <a:pt x="37" y="0"/>
                  </a:cubicBezTo>
                  <a:close/>
                  <a:moveTo>
                    <a:pt x="37" y="57"/>
                  </a:moveTo>
                  <a:cubicBezTo>
                    <a:pt x="26" y="57"/>
                    <a:pt x="17" y="48"/>
                    <a:pt x="17" y="37"/>
                  </a:cubicBezTo>
                  <a:cubicBezTo>
                    <a:pt x="17" y="26"/>
                    <a:pt x="26" y="17"/>
                    <a:pt x="37" y="17"/>
                  </a:cubicBezTo>
                  <a:cubicBezTo>
                    <a:pt x="48" y="17"/>
                    <a:pt x="57" y="26"/>
                    <a:pt x="57" y="37"/>
                  </a:cubicBezTo>
                  <a:cubicBezTo>
                    <a:pt x="57" y="48"/>
                    <a:pt x="48" y="57"/>
                    <a:pt x="37" y="57"/>
                  </a:cubicBezTo>
                  <a:close/>
                </a:path>
              </a:pathLst>
            </a:cu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2014342F-8FD2-495C-B769-120F2F3C038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22624" y="1772238"/>
              <a:ext cx="358844" cy="61408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A55253E-AD25-4BC2-95E7-C11DC3988ABE}"/>
              </a:ext>
            </a:extLst>
          </p:cNvPr>
          <p:cNvSpPr txBox="1"/>
          <p:nvPr/>
        </p:nvSpPr>
        <p:spPr>
          <a:xfrm>
            <a:off x="4118522" y="2208123"/>
            <a:ext cx="3176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prstClr val="black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. Motivation, Challenges, &amp; Pre-Processes</a:t>
            </a:r>
          </a:p>
        </p:txBody>
      </p:sp>
      <p:sp>
        <p:nvSpPr>
          <p:cNvPr id="15" name="Freeform 723">
            <a:extLst>
              <a:ext uri="{FF2B5EF4-FFF2-40B4-BE49-F238E27FC236}">
                <a16:creationId xmlns:a16="http://schemas.microsoft.com/office/drawing/2014/main" id="{FD841A56-D41F-4A3D-87A6-431A87C0A86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30693" y="2180737"/>
            <a:ext cx="487829" cy="487829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" name="Freeform 6">
            <a:extLst>
              <a:ext uri="{FF2B5EF4-FFF2-40B4-BE49-F238E27FC236}">
                <a16:creationId xmlns:a16="http://schemas.microsoft.com/office/drawing/2014/main" id="{F2360618-69E0-4E7E-A203-68E98CD1C64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78036" y="3224291"/>
            <a:ext cx="187276" cy="279332"/>
          </a:xfrm>
          <a:custGeom>
            <a:avLst/>
            <a:gdLst>
              <a:gd name="T0" fmla="*/ 37 w 74"/>
              <a:gd name="T1" fmla="*/ 0 h 118"/>
              <a:gd name="T2" fmla="*/ 0 w 74"/>
              <a:gd name="T3" fmla="*/ 37 h 118"/>
              <a:gd name="T4" fmla="*/ 37 w 74"/>
              <a:gd name="T5" fmla="*/ 118 h 118"/>
              <a:gd name="T6" fmla="*/ 74 w 74"/>
              <a:gd name="T7" fmla="*/ 37 h 118"/>
              <a:gd name="T8" fmla="*/ 37 w 74"/>
              <a:gd name="T9" fmla="*/ 0 h 118"/>
              <a:gd name="T10" fmla="*/ 37 w 74"/>
              <a:gd name="T11" fmla="*/ 57 h 118"/>
              <a:gd name="T12" fmla="*/ 17 w 74"/>
              <a:gd name="T13" fmla="*/ 37 h 118"/>
              <a:gd name="T14" fmla="*/ 37 w 74"/>
              <a:gd name="T15" fmla="*/ 17 h 118"/>
              <a:gd name="T16" fmla="*/ 57 w 74"/>
              <a:gd name="T17" fmla="*/ 37 h 118"/>
              <a:gd name="T18" fmla="*/ 37 w 74"/>
              <a:gd name="T19" fmla="*/ 57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4" h="118">
                <a:moveTo>
                  <a:pt x="37" y="0"/>
                </a:moveTo>
                <a:cubicBezTo>
                  <a:pt x="16" y="0"/>
                  <a:pt x="0" y="16"/>
                  <a:pt x="0" y="37"/>
                </a:cubicBezTo>
                <a:cubicBezTo>
                  <a:pt x="0" y="72"/>
                  <a:pt x="37" y="118"/>
                  <a:pt x="37" y="118"/>
                </a:cubicBezTo>
                <a:cubicBezTo>
                  <a:pt x="37" y="118"/>
                  <a:pt x="74" y="72"/>
                  <a:pt x="74" y="37"/>
                </a:cubicBezTo>
                <a:cubicBezTo>
                  <a:pt x="74" y="16"/>
                  <a:pt x="57" y="0"/>
                  <a:pt x="37" y="0"/>
                </a:cubicBezTo>
                <a:close/>
                <a:moveTo>
                  <a:pt x="37" y="57"/>
                </a:moveTo>
                <a:cubicBezTo>
                  <a:pt x="26" y="57"/>
                  <a:pt x="17" y="48"/>
                  <a:pt x="17" y="37"/>
                </a:cubicBezTo>
                <a:cubicBezTo>
                  <a:pt x="17" y="26"/>
                  <a:pt x="26" y="17"/>
                  <a:pt x="37" y="17"/>
                </a:cubicBezTo>
                <a:cubicBezTo>
                  <a:pt x="48" y="17"/>
                  <a:pt x="57" y="26"/>
                  <a:pt x="57" y="37"/>
                </a:cubicBezTo>
                <a:cubicBezTo>
                  <a:pt x="57" y="48"/>
                  <a:pt x="48" y="57"/>
                  <a:pt x="37" y="5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4AF8F74-BBDA-47FD-97DC-A2EFCE61332A}"/>
              </a:ext>
            </a:extLst>
          </p:cNvPr>
          <p:cNvCxnSpPr>
            <a:cxnSpLocks/>
          </p:cNvCxnSpPr>
          <p:nvPr/>
        </p:nvCxnSpPr>
        <p:spPr>
          <a:xfrm flipV="1">
            <a:off x="3565312" y="2766286"/>
            <a:ext cx="197530" cy="44677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94E091F-F96E-41D2-8FB4-66EB0FE17AB8}"/>
              </a:ext>
            </a:extLst>
          </p:cNvPr>
          <p:cNvGrpSpPr/>
          <p:nvPr/>
        </p:nvGrpSpPr>
        <p:grpSpPr>
          <a:xfrm>
            <a:off x="6362772" y="4289480"/>
            <a:ext cx="5082762" cy="1340550"/>
            <a:chOff x="10686242" y="2020474"/>
            <a:chExt cx="5082762" cy="134055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73D48C0-8E29-4E0E-93EA-0D9D29445D37}"/>
                </a:ext>
              </a:extLst>
            </p:cNvPr>
            <p:cNvSpPr txBox="1"/>
            <p:nvPr/>
          </p:nvSpPr>
          <p:spPr>
            <a:xfrm>
              <a:off x="11696231" y="2020474"/>
              <a:ext cx="40727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4. Model Performance</a:t>
              </a: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B469242-4D56-467B-9850-B7B609F1C83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686242" y="3081692"/>
              <a:ext cx="174857" cy="279332"/>
            </a:xfrm>
            <a:custGeom>
              <a:avLst/>
              <a:gdLst>
                <a:gd name="T0" fmla="*/ 37 w 74"/>
                <a:gd name="T1" fmla="*/ 0 h 118"/>
                <a:gd name="T2" fmla="*/ 0 w 74"/>
                <a:gd name="T3" fmla="*/ 37 h 118"/>
                <a:gd name="T4" fmla="*/ 37 w 74"/>
                <a:gd name="T5" fmla="*/ 118 h 118"/>
                <a:gd name="T6" fmla="*/ 74 w 74"/>
                <a:gd name="T7" fmla="*/ 37 h 118"/>
                <a:gd name="T8" fmla="*/ 37 w 74"/>
                <a:gd name="T9" fmla="*/ 0 h 118"/>
                <a:gd name="T10" fmla="*/ 37 w 74"/>
                <a:gd name="T11" fmla="*/ 57 h 118"/>
                <a:gd name="T12" fmla="*/ 17 w 74"/>
                <a:gd name="T13" fmla="*/ 37 h 118"/>
                <a:gd name="T14" fmla="*/ 37 w 74"/>
                <a:gd name="T15" fmla="*/ 17 h 118"/>
                <a:gd name="T16" fmla="*/ 57 w 74"/>
                <a:gd name="T17" fmla="*/ 37 h 118"/>
                <a:gd name="T18" fmla="*/ 37 w 74"/>
                <a:gd name="T19" fmla="*/ 5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18">
                  <a:moveTo>
                    <a:pt x="37" y="0"/>
                  </a:moveTo>
                  <a:cubicBezTo>
                    <a:pt x="16" y="0"/>
                    <a:pt x="0" y="16"/>
                    <a:pt x="0" y="37"/>
                  </a:cubicBezTo>
                  <a:cubicBezTo>
                    <a:pt x="0" y="72"/>
                    <a:pt x="37" y="118"/>
                    <a:pt x="37" y="118"/>
                  </a:cubicBezTo>
                  <a:cubicBezTo>
                    <a:pt x="37" y="118"/>
                    <a:pt x="74" y="72"/>
                    <a:pt x="74" y="37"/>
                  </a:cubicBezTo>
                  <a:cubicBezTo>
                    <a:pt x="74" y="16"/>
                    <a:pt x="57" y="0"/>
                    <a:pt x="37" y="0"/>
                  </a:cubicBezTo>
                  <a:close/>
                  <a:moveTo>
                    <a:pt x="37" y="57"/>
                  </a:moveTo>
                  <a:cubicBezTo>
                    <a:pt x="26" y="57"/>
                    <a:pt x="17" y="48"/>
                    <a:pt x="17" y="37"/>
                  </a:cubicBezTo>
                  <a:cubicBezTo>
                    <a:pt x="17" y="26"/>
                    <a:pt x="26" y="17"/>
                    <a:pt x="37" y="17"/>
                  </a:cubicBezTo>
                  <a:cubicBezTo>
                    <a:pt x="48" y="17"/>
                    <a:pt x="57" y="26"/>
                    <a:pt x="57" y="37"/>
                  </a:cubicBezTo>
                  <a:cubicBezTo>
                    <a:pt x="57" y="48"/>
                    <a:pt x="48" y="57"/>
                    <a:pt x="37" y="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2DB2862E-4A5F-4300-A350-56DF9CE668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61099" y="2560924"/>
              <a:ext cx="316395" cy="47669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Freeform 6">
            <a:extLst>
              <a:ext uri="{FF2B5EF4-FFF2-40B4-BE49-F238E27FC236}">
                <a16:creationId xmlns:a16="http://schemas.microsoft.com/office/drawing/2014/main" id="{009DEDC8-7864-44B4-ACC5-EE14143F432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351971" y="5658474"/>
            <a:ext cx="174857" cy="279332"/>
          </a:xfrm>
          <a:custGeom>
            <a:avLst/>
            <a:gdLst>
              <a:gd name="T0" fmla="*/ 37 w 74"/>
              <a:gd name="T1" fmla="*/ 0 h 118"/>
              <a:gd name="T2" fmla="*/ 0 w 74"/>
              <a:gd name="T3" fmla="*/ 37 h 118"/>
              <a:gd name="T4" fmla="*/ 37 w 74"/>
              <a:gd name="T5" fmla="*/ 118 h 118"/>
              <a:gd name="T6" fmla="*/ 74 w 74"/>
              <a:gd name="T7" fmla="*/ 37 h 118"/>
              <a:gd name="T8" fmla="*/ 37 w 74"/>
              <a:gd name="T9" fmla="*/ 0 h 118"/>
              <a:gd name="T10" fmla="*/ 37 w 74"/>
              <a:gd name="T11" fmla="*/ 57 h 118"/>
              <a:gd name="T12" fmla="*/ 17 w 74"/>
              <a:gd name="T13" fmla="*/ 37 h 118"/>
              <a:gd name="T14" fmla="*/ 37 w 74"/>
              <a:gd name="T15" fmla="*/ 17 h 118"/>
              <a:gd name="T16" fmla="*/ 57 w 74"/>
              <a:gd name="T17" fmla="*/ 37 h 118"/>
              <a:gd name="T18" fmla="*/ 37 w 74"/>
              <a:gd name="T19" fmla="*/ 57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4" h="118">
                <a:moveTo>
                  <a:pt x="37" y="0"/>
                </a:moveTo>
                <a:cubicBezTo>
                  <a:pt x="16" y="0"/>
                  <a:pt x="0" y="16"/>
                  <a:pt x="0" y="37"/>
                </a:cubicBezTo>
                <a:cubicBezTo>
                  <a:pt x="0" y="72"/>
                  <a:pt x="37" y="118"/>
                  <a:pt x="37" y="118"/>
                </a:cubicBezTo>
                <a:cubicBezTo>
                  <a:pt x="37" y="118"/>
                  <a:pt x="74" y="72"/>
                  <a:pt x="74" y="37"/>
                </a:cubicBezTo>
                <a:cubicBezTo>
                  <a:pt x="74" y="16"/>
                  <a:pt x="57" y="0"/>
                  <a:pt x="37" y="0"/>
                </a:cubicBezTo>
                <a:close/>
                <a:moveTo>
                  <a:pt x="37" y="57"/>
                </a:moveTo>
                <a:cubicBezTo>
                  <a:pt x="26" y="57"/>
                  <a:pt x="17" y="48"/>
                  <a:pt x="17" y="37"/>
                </a:cubicBezTo>
                <a:cubicBezTo>
                  <a:pt x="17" y="26"/>
                  <a:pt x="26" y="17"/>
                  <a:pt x="37" y="17"/>
                </a:cubicBezTo>
                <a:cubicBezTo>
                  <a:pt x="48" y="17"/>
                  <a:pt x="57" y="26"/>
                  <a:pt x="57" y="37"/>
                </a:cubicBezTo>
                <a:cubicBezTo>
                  <a:pt x="57" y="48"/>
                  <a:pt x="48" y="57"/>
                  <a:pt x="37" y="5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Freeform 364">
            <a:extLst>
              <a:ext uri="{FF2B5EF4-FFF2-40B4-BE49-F238E27FC236}">
                <a16:creationId xmlns:a16="http://schemas.microsoft.com/office/drawing/2014/main" id="{51E61409-27BD-4643-B627-94C8CDAF265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189870" y="4343531"/>
            <a:ext cx="487829" cy="486399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17 w 512"/>
              <a:gd name="T5" fmla="*/ 362 h 512"/>
              <a:gd name="T6" fmla="*/ 96 w 512"/>
              <a:gd name="T7" fmla="*/ 362 h 512"/>
              <a:gd name="T8" fmla="*/ 106 w 512"/>
              <a:gd name="T9" fmla="*/ 330 h 512"/>
              <a:gd name="T10" fmla="*/ 117 w 512"/>
              <a:gd name="T11" fmla="*/ 362 h 512"/>
              <a:gd name="T12" fmla="*/ 149 w 512"/>
              <a:gd name="T13" fmla="*/ 373 h 512"/>
              <a:gd name="T14" fmla="*/ 138 w 512"/>
              <a:gd name="T15" fmla="*/ 320 h 512"/>
              <a:gd name="T16" fmla="*/ 160 w 512"/>
              <a:gd name="T17" fmla="*/ 320 h 512"/>
              <a:gd name="T18" fmla="*/ 202 w 512"/>
              <a:gd name="T19" fmla="*/ 362 h 512"/>
              <a:gd name="T20" fmla="*/ 181 w 512"/>
              <a:gd name="T21" fmla="*/ 362 h 512"/>
              <a:gd name="T22" fmla="*/ 192 w 512"/>
              <a:gd name="T23" fmla="*/ 277 h 512"/>
              <a:gd name="T24" fmla="*/ 202 w 512"/>
              <a:gd name="T25" fmla="*/ 362 h 512"/>
              <a:gd name="T26" fmla="*/ 234 w 512"/>
              <a:gd name="T27" fmla="*/ 373 h 512"/>
              <a:gd name="T28" fmla="*/ 224 w 512"/>
              <a:gd name="T29" fmla="*/ 277 h 512"/>
              <a:gd name="T30" fmla="*/ 245 w 512"/>
              <a:gd name="T31" fmla="*/ 277 h 512"/>
              <a:gd name="T32" fmla="*/ 288 w 512"/>
              <a:gd name="T33" fmla="*/ 362 h 512"/>
              <a:gd name="T34" fmla="*/ 266 w 512"/>
              <a:gd name="T35" fmla="*/ 362 h 512"/>
              <a:gd name="T36" fmla="*/ 277 w 512"/>
              <a:gd name="T37" fmla="*/ 266 h 512"/>
              <a:gd name="T38" fmla="*/ 288 w 512"/>
              <a:gd name="T39" fmla="*/ 362 h 512"/>
              <a:gd name="T40" fmla="*/ 320 w 512"/>
              <a:gd name="T41" fmla="*/ 373 h 512"/>
              <a:gd name="T42" fmla="*/ 309 w 512"/>
              <a:gd name="T43" fmla="*/ 245 h 512"/>
              <a:gd name="T44" fmla="*/ 330 w 512"/>
              <a:gd name="T45" fmla="*/ 245 h 512"/>
              <a:gd name="T46" fmla="*/ 373 w 512"/>
              <a:gd name="T47" fmla="*/ 362 h 512"/>
              <a:gd name="T48" fmla="*/ 352 w 512"/>
              <a:gd name="T49" fmla="*/ 362 h 512"/>
              <a:gd name="T50" fmla="*/ 362 w 512"/>
              <a:gd name="T51" fmla="*/ 202 h 512"/>
              <a:gd name="T52" fmla="*/ 373 w 512"/>
              <a:gd name="T53" fmla="*/ 362 h 512"/>
              <a:gd name="T54" fmla="*/ 384 w 512"/>
              <a:gd name="T55" fmla="*/ 181 h 512"/>
              <a:gd name="T56" fmla="*/ 373 w 512"/>
              <a:gd name="T57" fmla="*/ 153 h 512"/>
              <a:gd name="T58" fmla="*/ 277 w 512"/>
              <a:gd name="T59" fmla="*/ 245 h 512"/>
              <a:gd name="T60" fmla="*/ 113 w 512"/>
              <a:gd name="T61" fmla="*/ 307 h 512"/>
              <a:gd name="T62" fmla="*/ 98 w 512"/>
              <a:gd name="T63" fmla="*/ 305 h 512"/>
              <a:gd name="T64" fmla="*/ 185 w 512"/>
              <a:gd name="T65" fmla="*/ 226 h 512"/>
              <a:gd name="T66" fmla="*/ 273 w 512"/>
              <a:gd name="T67" fmla="*/ 224 h 512"/>
              <a:gd name="T68" fmla="*/ 341 w 512"/>
              <a:gd name="T69" fmla="*/ 138 h 512"/>
              <a:gd name="T70" fmla="*/ 341 w 512"/>
              <a:gd name="T71" fmla="*/ 117 h 512"/>
              <a:gd name="T72" fmla="*/ 388 w 512"/>
              <a:gd name="T73" fmla="*/ 118 h 512"/>
              <a:gd name="T74" fmla="*/ 394 w 512"/>
              <a:gd name="T75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7" y="362"/>
                </a:moveTo>
                <a:cubicBezTo>
                  <a:pt x="117" y="368"/>
                  <a:pt x="112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341"/>
                  <a:pt x="96" y="341"/>
                  <a:pt x="96" y="341"/>
                </a:cubicBezTo>
                <a:cubicBezTo>
                  <a:pt x="96" y="335"/>
                  <a:pt x="100" y="330"/>
                  <a:pt x="106" y="330"/>
                </a:cubicBezTo>
                <a:cubicBezTo>
                  <a:pt x="112" y="330"/>
                  <a:pt x="117" y="335"/>
                  <a:pt x="117" y="341"/>
                </a:cubicBezTo>
                <a:lnTo>
                  <a:pt x="117" y="362"/>
                </a:lnTo>
                <a:close/>
                <a:moveTo>
                  <a:pt x="160" y="362"/>
                </a:moveTo>
                <a:cubicBezTo>
                  <a:pt x="160" y="368"/>
                  <a:pt x="155" y="373"/>
                  <a:pt x="149" y="373"/>
                </a:cubicBezTo>
                <a:cubicBezTo>
                  <a:pt x="143" y="373"/>
                  <a:pt x="138" y="368"/>
                  <a:pt x="138" y="362"/>
                </a:cubicBezTo>
                <a:cubicBezTo>
                  <a:pt x="138" y="320"/>
                  <a:pt x="138" y="320"/>
                  <a:pt x="138" y="320"/>
                </a:cubicBezTo>
                <a:cubicBezTo>
                  <a:pt x="138" y="314"/>
                  <a:pt x="143" y="309"/>
                  <a:pt x="149" y="309"/>
                </a:cubicBezTo>
                <a:cubicBezTo>
                  <a:pt x="155" y="309"/>
                  <a:pt x="160" y="314"/>
                  <a:pt x="160" y="320"/>
                </a:cubicBezTo>
                <a:lnTo>
                  <a:pt x="160" y="362"/>
                </a:lnTo>
                <a:close/>
                <a:moveTo>
                  <a:pt x="202" y="362"/>
                </a:moveTo>
                <a:cubicBezTo>
                  <a:pt x="202" y="368"/>
                  <a:pt x="198" y="373"/>
                  <a:pt x="192" y="373"/>
                </a:cubicBezTo>
                <a:cubicBezTo>
                  <a:pt x="186" y="373"/>
                  <a:pt x="181" y="368"/>
                  <a:pt x="181" y="362"/>
                </a:cubicBezTo>
                <a:cubicBezTo>
                  <a:pt x="181" y="288"/>
                  <a:pt x="181" y="288"/>
                  <a:pt x="181" y="288"/>
                </a:cubicBezTo>
                <a:cubicBezTo>
                  <a:pt x="181" y="282"/>
                  <a:pt x="186" y="277"/>
                  <a:pt x="192" y="277"/>
                </a:cubicBezTo>
                <a:cubicBezTo>
                  <a:pt x="198" y="277"/>
                  <a:pt x="202" y="282"/>
                  <a:pt x="202" y="288"/>
                </a:cubicBezTo>
                <a:lnTo>
                  <a:pt x="202" y="362"/>
                </a:lnTo>
                <a:close/>
                <a:moveTo>
                  <a:pt x="245" y="362"/>
                </a:moveTo>
                <a:cubicBezTo>
                  <a:pt x="245" y="368"/>
                  <a:pt x="240" y="373"/>
                  <a:pt x="234" y="373"/>
                </a:cubicBezTo>
                <a:cubicBezTo>
                  <a:pt x="228" y="373"/>
                  <a:pt x="224" y="368"/>
                  <a:pt x="224" y="362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4" y="271"/>
                  <a:pt x="228" y="266"/>
                  <a:pt x="234" y="266"/>
                </a:cubicBezTo>
                <a:cubicBezTo>
                  <a:pt x="240" y="266"/>
                  <a:pt x="245" y="271"/>
                  <a:pt x="245" y="277"/>
                </a:cubicBezTo>
                <a:lnTo>
                  <a:pt x="245" y="362"/>
                </a:lnTo>
                <a:close/>
                <a:moveTo>
                  <a:pt x="288" y="362"/>
                </a:moveTo>
                <a:cubicBezTo>
                  <a:pt x="288" y="368"/>
                  <a:pt x="283" y="373"/>
                  <a:pt x="277" y="373"/>
                </a:cubicBezTo>
                <a:cubicBezTo>
                  <a:pt x="271" y="373"/>
                  <a:pt x="266" y="368"/>
                  <a:pt x="266" y="362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66" y="271"/>
                  <a:pt x="271" y="266"/>
                  <a:pt x="277" y="266"/>
                </a:cubicBezTo>
                <a:cubicBezTo>
                  <a:pt x="283" y="266"/>
                  <a:pt x="288" y="271"/>
                  <a:pt x="288" y="277"/>
                </a:cubicBezTo>
                <a:lnTo>
                  <a:pt x="288" y="362"/>
                </a:lnTo>
                <a:close/>
                <a:moveTo>
                  <a:pt x="330" y="362"/>
                </a:moveTo>
                <a:cubicBezTo>
                  <a:pt x="330" y="368"/>
                  <a:pt x="326" y="373"/>
                  <a:pt x="320" y="373"/>
                </a:cubicBezTo>
                <a:cubicBezTo>
                  <a:pt x="314" y="373"/>
                  <a:pt x="309" y="368"/>
                  <a:pt x="309" y="362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09" y="239"/>
                  <a:pt x="314" y="234"/>
                  <a:pt x="320" y="234"/>
                </a:cubicBezTo>
                <a:cubicBezTo>
                  <a:pt x="326" y="234"/>
                  <a:pt x="330" y="239"/>
                  <a:pt x="330" y="245"/>
                </a:cubicBezTo>
                <a:lnTo>
                  <a:pt x="330" y="362"/>
                </a:lnTo>
                <a:close/>
                <a:moveTo>
                  <a:pt x="373" y="362"/>
                </a:moveTo>
                <a:cubicBezTo>
                  <a:pt x="373" y="368"/>
                  <a:pt x="368" y="373"/>
                  <a:pt x="362" y="373"/>
                </a:cubicBezTo>
                <a:cubicBezTo>
                  <a:pt x="356" y="373"/>
                  <a:pt x="352" y="368"/>
                  <a:pt x="352" y="362"/>
                </a:cubicBezTo>
                <a:cubicBezTo>
                  <a:pt x="352" y="213"/>
                  <a:pt x="352" y="213"/>
                  <a:pt x="352" y="213"/>
                </a:cubicBezTo>
                <a:cubicBezTo>
                  <a:pt x="352" y="207"/>
                  <a:pt x="356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lnTo>
                  <a:pt x="373" y="362"/>
                </a:lnTo>
                <a:close/>
                <a:moveTo>
                  <a:pt x="394" y="170"/>
                </a:moveTo>
                <a:cubicBezTo>
                  <a:pt x="394" y="176"/>
                  <a:pt x="390" y="181"/>
                  <a:pt x="384" y="181"/>
                </a:cubicBezTo>
                <a:cubicBezTo>
                  <a:pt x="378" y="181"/>
                  <a:pt x="373" y="176"/>
                  <a:pt x="373" y="170"/>
                </a:cubicBezTo>
                <a:cubicBezTo>
                  <a:pt x="373" y="153"/>
                  <a:pt x="373" y="153"/>
                  <a:pt x="373" y="153"/>
                </a:cubicBezTo>
                <a:cubicBezTo>
                  <a:pt x="285" y="242"/>
                  <a:pt x="285" y="242"/>
                  <a:pt x="285" y="242"/>
                </a:cubicBezTo>
                <a:cubicBezTo>
                  <a:pt x="283" y="244"/>
                  <a:pt x="280" y="245"/>
                  <a:pt x="277" y="245"/>
                </a:cubicBezTo>
                <a:cubicBezTo>
                  <a:pt x="195" y="245"/>
                  <a:pt x="195" y="245"/>
                  <a:pt x="195" y="245"/>
                </a:cubicBezTo>
                <a:cubicBezTo>
                  <a:pt x="113" y="307"/>
                  <a:pt x="113" y="307"/>
                  <a:pt x="113" y="307"/>
                </a:cubicBezTo>
                <a:cubicBezTo>
                  <a:pt x="111" y="308"/>
                  <a:pt x="109" y="309"/>
                  <a:pt x="106" y="309"/>
                </a:cubicBezTo>
                <a:cubicBezTo>
                  <a:pt x="103" y="309"/>
                  <a:pt x="100" y="308"/>
                  <a:pt x="98" y="305"/>
                </a:cubicBezTo>
                <a:cubicBezTo>
                  <a:pt x="94" y="300"/>
                  <a:pt x="95" y="293"/>
                  <a:pt x="100" y="290"/>
                </a:cubicBezTo>
                <a:cubicBezTo>
                  <a:pt x="185" y="226"/>
                  <a:pt x="185" y="226"/>
                  <a:pt x="185" y="226"/>
                </a:cubicBezTo>
                <a:cubicBezTo>
                  <a:pt x="187" y="224"/>
                  <a:pt x="189" y="224"/>
                  <a:pt x="192" y="224"/>
                </a:cubicBezTo>
                <a:cubicBezTo>
                  <a:pt x="273" y="224"/>
                  <a:pt x="273" y="224"/>
                  <a:pt x="273" y="224"/>
                </a:cubicBezTo>
                <a:cubicBezTo>
                  <a:pt x="358" y="138"/>
                  <a:pt x="358" y="138"/>
                  <a:pt x="358" y="138"/>
                </a:cubicBezTo>
                <a:cubicBezTo>
                  <a:pt x="341" y="138"/>
                  <a:pt x="341" y="138"/>
                  <a:pt x="341" y="138"/>
                </a:cubicBezTo>
                <a:cubicBezTo>
                  <a:pt x="335" y="138"/>
                  <a:pt x="330" y="134"/>
                  <a:pt x="330" y="128"/>
                </a:cubicBezTo>
                <a:cubicBezTo>
                  <a:pt x="330" y="122"/>
                  <a:pt x="335" y="117"/>
                  <a:pt x="341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85" y="117"/>
                  <a:pt x="386" y="117"/>
                  <a:pt x="388" y="118"/>
                </a:cubicBezTo>
                <a:cubicBezTo>
                  <a:pt x="390" y="119"/>
                  <a:pt x="392" y="121"/>
                  <a:pt x="394" y="124"/>
                </a:cubicBezTo>
                <a:cubicBezTo>
                  <a:pt x="394" y="125"/>
                  <a:pt x="394" y="126"/>
                  <a:pt x="394" y="128"/>
                </a:cubicBezTo>
                <a:lnTo>
                  <a:pt x="394" y="17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72ACA7C-3306-4AA5-8208-788D010D7D9E}"/>
              </a:ext>
            </a:extLst>
          </p:cNvPr>
          <p:cNvCxnSpPr>
            <a:cxnSpLocks/>
          </p:cNvCxnSpPr>
          <p:nvPr/>
        </p:nvCxnSpPr>
        <p:spPr>
          <a:xfrm flipV="1">
            <a:off x="10432281" y="4946675"/>
            <a:ext cx="7119" cy="71989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AFCF09BA-6D5D-4431-8F78-68DB7CF05349}"/>
              </a:ext>
            </a:extLst>
          </p:cNvPr>
          <p:cNvSpPr txBox="1"/>
          <p:nvPr/>
        </p:nvSpPr>
        <p:spPr>
          <a:xfrm>
            <a:off x="10677699" y="4382247"/>
            <a:ext cx="27953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prstClr val="black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5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</a:t>
            </a:r>
            <a:r>
              <a:rPr lang="en-US" sz="2000" b="1">
                <a:solidFill>
                  <a:prstClr val="black"/>
                </a:solidFill>
                <a:latin typeface="Calibri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Conclusion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8ACAACB-2CBC-6C63-E9FB-CA507D136CB2}"/>
              </a:ext>
            </a:extLst>
          </p:cNvPr>
          <p:cNvGrpSpPr/>
          <p:nvPr/>
        </p:nvGrpSpPr>
        <p:grpSpPr>
          <a:xfrm>
            <a:off x="6121289" y="2905319"/>
            <a:ext cx="5242993" cy="1091219"/>
            <a:chOff x="6009161" y="2475879"/>
            <a:chExt cx="5242993" cy="109121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A43F45F-3185-C2DF-7B2D-560854316EEF}"/>
                </a:ext>
              </a:extLst>
            </p:cNvPr>
            <p:cNvSpPr txBox="1"/>
            <p:nvPr/>
          </p:nvSpPr>
          <p:spPr>
            <a:xfrm>
              <a:off x="7179381" y="2536112"/>
              <a:ext cx="40727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prstClr val="black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Verdana" panose="020B0604030504040204" pitchFamily="34" charset="0"/>
                  <a:cs typeface="Verdana" panose="020B0604030504040204" pitchFamily="34" charset="0"/>
                </a:rPr>
                <a:t>. Prediction Models</a:t>
              </a: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32B85FB-BCB9-57B8-0350-BC09A772C78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76869" y="2475879"/>
              <a:ext cx="487829" cy="487829"/>
            </a:xfrm>
            <a:custGeom>
              <a:avLst/>
              <a:gdLst>
                <a:gd name="T0" fmla="*/ 341 w 512"/>
                <a:gd name="T1" fmla="*/ 232 h 512"/>
                <a:gd name="T2" fmla="*/ 373 w 512"/>
                <a:gd name="T3" fmla="*/ 200 h 512"/>
                <a:gd name="T4" fmla="*/ 364 w 512"/>
                <a:gd name="T5" fmla="*/ 237 h 512"/>
                <a:gd name="T6" fmla="*/ 364 w 512"/>
                <a:gd name="T7" fmla="*/ 237 h 512"/>
                <a:gd name="T8" fmla="*/ 354 w 512"/>
                <a:gd name="T9" fmla="*/ 249 h 512"/>
                <a:gd name="T10" fmla="*/ 288 w 512"/>
                <a:gd name="T11" fmla="*/ 264 h 512"/>
                <a:gd name="T12" fmla="*/ 276 w 512"/>
                <a:gd name="T13" fmla="*/ 267 h 512"/>
                <a:gd name="T14" fmla="*/ 167 w 512"/>
                <a:gd name="T15" fmla="*/ 376 h 512"/>
                <a:gd name="T16" fmla="*/ 137 w 512"/>
                <a:gd name="T17" fmla="*/ 376 h 512"/>
                <a:gd name="T18" fmla="*/ 131 w 512"/>
                <a:gd name="T19" fmla="*/ 361 h 512"/>
                <a:gd name="T20" fmla="*/ 137 w 512"/>
                <a:gd name="T21" fmla="*/ 346 h 512"/>
                <a:gd name="T22" fmla="*/ 246 w 512"/>
                <a:gd name="T23" fmla="*/ 237 h 512"/>
                <a:gd name="T24" fmla="*/ 249 w 512"/>
                <a:gd name="T25" fmla="*/ 225 h 512"/>
                <a:gd name="T26" fmla="*/ 264 w 512"/>
                <a:gd name="T27" fmla="*/ 159 h 512"/>
                <a:gd name="T28" fmla="*/ 276 w 512"/>
                <a:gd name="T29" fmla="*/ 149 h 512"/>
                <a:gd name="T30" fmla="*/ 309 w 512"/>
                <a:gd name="T31" fmla="*/ 140 h 512"/>
                <a:gd name="T32" fmla="*/ 312 w 512"/>
                <a:gd name="T33" fmla="*/ 140 h 512"/>
                <a:gd name="T34" fmla="*/ 281 w 512"/>
                <a:gd name="T35" fmla="*/ 171 h 512"/>
                <a:gd name="T36" fmla="*/ 280 w 512"/>
                <a:gd name="T37" fmla="*/ 185 h 512"/>
                <a:gd name="T38" fmla="*/ 301 w 512"/>
                <a:gd name="T39" fmla="*/ 211 h 512"/>
                <a:gd name="T40" fmla="*/ 328 w 512"/>
                <a:gd name="T41" fmla="*/ 233 h 512"/>
                <a:gd name="T42" fmla="*/ 341 w 512"/>
                <a:gd name="T43" fmla="*/ 232 h 512"/>
                <a:gd name="T44" fmla="*/ 512 w 512"/>
                <a:gd name="T45" fmla="*/ 256 h 512"/>
                <a:gd name="T46" fmla="*/ 256 w 512"/>
                <a:gd name="T47" fmla="*/ 512 h 512"/>
                <a:gd name="T48" fmla="*/ 0 w 512"/>
                <a:gd name="T49" fmla="*/ 256 h 512"/>
                <a:gd name="T50" fmla="*/ 256 w 512"/>
                <a:gd name="T51" fmla="*/ 0 h 512"/>
                <a:gd name="T52" fmla="*/ 512 w 512"/>
                <a:gd name="T53" fmla="*/ 256 h 512"/>
                <a:gd name="T54" fmla="*/ 389 w 512"/>
                <a:gd name="T55" fmla="*/ 175 h 512"/>
                <a:gd name="T56" fmla="*/ 382 w 512"/>
                <a:gd name="T57" fmla="*/ 169 h 512"/>
                <a:gd name="T58" fmla="*/ 372 w 512"/>
                <a:gd name="T59" fmla="*/ 171 h 512"/>
                <a:gd name="T60" fmla="*/ 333 w 512"/>
                <a:gd name="T61" fmla="*/ 210 h 512"/>
                <a:gd name="T62" fmla="*/ 317 w 512"/>
                <a:gd name="T63" fmla="*/ 196 h 512"/>
                <a:gd name="T64" fmla="*/ 303 w 512"/>
                <a:gd name="T65" fmla="*/ 180 h 512"/>
                <a:gd name="T66" fmla="*/ 342 w 512"/>
                <a:gd name="T67" fmla="*/ 141 h 512"/>
                <a:gd name="T68" fmla="*/ 344 w 512"/>
                <a:gd name="T69" fmla="*/ 131 h 512"/>
                <a:gd name="T70" fmla="*/ 338 w 512"/>
                <a:gd name="T71" fmla="*/ 124 h 512"/>
                <a:gd name="T72" fmla="*/ 265 w 512"/>
                <a:gd name="T73" fmla="*/ 131 h 512"/>
                <a:gd name="T74" fmla="*/ 249 w 512"/>
                <a:gd name="T75" fmla="*/ 144 h 512"/>
                <a:gd name="T76" fmla="*/ 227 w 512"/>
                <a:gd name="T77" fmla="*/ 226 h 512"/>
                <a:gd name="T78" fmla="*/ 122 w 512"/>
                <a:gd name="T79" fmla="*/ 331 h 512"/>
                <a:gd name="T80" fmla="*/ 109 w 512"/>
                <a:gd name="T81" fmla="*/ 361 h 512"/>
                <a:gd name="T82" fmla="*/ 122 w 512"/>
                <a:gd name="T83" fmla="*/ 391 h 512"/>
                <a:gd name="T84" fmla="*/ 152 w 512"/>
                <a:gd name="T85" fmla="*/ 404 h 512"/>
                <a:gd name="T86" fmla="*/ 182 w 512"/>
                <a:gd name="T87" fmla="*/ 391 h 512"/>
                <a:gd name="T88" fmla="*/ 287 w 512"/>
                <a:gd name="T89" fmla="*/ 286 h 512"/>
                <a:gd name="T90" fmla="*/ 369 w 512"/>
                <a:gd name="T91" fmla="*/ 264 h 512"/>
                <a:gd name="T92" fmla="*/ 382 w 512"/>
                <a:gd name="T93" fmla="*/ 248 h 512"/>
                <a:gd name="T94" fmla="*/ 389 w 512"/>
                <a:gd name="T95" fmla="*/ 17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341" y="232"/>
                  </a:moveTo>
                  <a:cubicBezTo>
                    <a:pt x="373" y="200"/>
                    <a:pt x="373" y="200"/>
                    <a:pt x="373" y="200"/>
                  </a:cubicBezTo>
                  <a:cubicBezTo>
                    <a:pt x="374" y="213"/>
                    <a:pt x="370" y="226"/>
                    <a:pt x="364" y="237"/>
                  </a:cubicBezTo>
                  <a:cubicBezTo>
                    <a:pt x="364" y="237"/>
                    <a:pt x="364" y="237"/>
                    <a:pt x="364" y="237"/>
                  </a:cubicBezTo>
                  <a:cubicBezTo>
                    <a:pt x="361" y="242"/>
                    <a:pt x="358" y="246"/>
                    <a:pt x="354" y="249"/>
                  </a:cubicBezTo>
                  <a:cubicBezTo>
                    <a:pt x="337" y="267"/>
                    <a:pt x="311" y="272"/>
                    <a:pt x="288" y="264"/>
                  </a:cubicBezTo>
                  <a:cubicBezTo>
                    <a:pt x="284" y="263"/>
                    <a:pt x="279" y="264"/>
                    <a:pt x="276" y="267"/>
                  </a:cubicBezTo>
                  <a:cubicBezTo>
                    <a:pt x="167" y="376"/>
                    <a:pt x="167" y="376"/>
                    <a:pt x="167" y="376"/>
                  </a:cubicBezTo>
                  <a:cubicBezTo>
                    <a:pt x="159" y="384"/>
                    <a:pt x="145" y="384"/>
                    <a:pt x="137" y="376"/>
                  </a:cubicBezTo>
                  <a:cubicBezTo>
                    <a:pt x="133" y="372"/>
                    <a:pt x="131" y="367"/>
                    <a:pt x="131" y="361"/>
                  </a:cubicBezTo>
                  <a:cubicBezTo>
                    <a:pt x="131" y="355"/>
                    <a:pt x="133" y="350"/>
                    <a:pt x="137" y="346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9" y="234"/>
                    <a:pt x="250" y="229"/>
                    <a:pt x="249" y="225"/>
                  </a:cubicBezTo>
                  <a:cubicBezTo>
                    <a:pt x="241" y="202"/>
                    <a:pt x="246" y="176"/>
                    <a:pt x="264" y="159"/>
                  </a:cubicBezTo>
                  <a:cubicBezTo>
                    <a:pt x="267" y="155"/>
                    <a:pt x="271" y="152"/>
                    <a:pt x="276" y="149"/>
                  </a:cubicBezTo>
                  <a:cubicBezTo>
                    <a:pt x="286" y="143"/>
                    <a:pt x="297" y="140"/>
                    <a:pt x="309" y="140"/>
                  </a:cubicBezTo>
                  <a:cubicBezTo>
                    <a:pt x="310" y="140"/>
                    <a:pt x="311" y="140"/>
                    <a:pt x="312" y="140"/>
                  </a:cubicBezTo>
                  <a:cubicBezTo>
                    <a:pt x="281" y="171"/>
                    <a:pt x="281" y="171"/>
                    <a:pt x="281" y="171"/>
                  </a:cubicBezTo>
                  <a:cubicBezTo>
                    <a:pt x="277" y="175"/>
                    <a:pt x="277" y="181"/>
                    <a:pt x="280" y="185"/>
                  </a:cubicBezTo>
                  <a:cubicBezTo>
                    <a:pt x="286" y="194"/>
                    <a:pt x="293" y="203"/>
                    <a:pt x="301" y="211"/>
                  </a:cubicBezTo>
                  <a:cubicBezTo>
                    <a:pt x="310" y="220"/>
                    <a:pt x="318" y="227"/>
                    <a:pt x="328" y="233"/>
                  </a:cubicBezTo>
                  <a:cubicBezTo>
                    <a:pt x="332" y="236"/>
                    <a:pt x="338" y="235"/>
                    <a:pt x="341" y="232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5" y="512"/>
                    <a:pt x="0" y="397"/>
                    <a:pt x="0" y="256"/>
                  </a:cubicBezTo>
                  <a:cubicBezTo>
                    <a:pt x="0" y="114"/>
                    <a:pt x="115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175"/>
                  </a:moveTo>
                  <a:cubicBezTo>
                    <a:pt x="388" y="172"/>
                    <a:pt x="385" y="169"/>
                    <a:pt x="382" y="169"/>
                  </a:cubicBezTo>
                  <a:cubicBezTo>
                    <a:pt x="378" y="168"/>
                    <a:pt x="374" y="169"/>
                    <a:pt x="372" y="171"/>
                  </a:cubicBezTo>
                  <a:cubicBezTo>
                    <a:pt x="333" y="210"/>
                    <a:pt x="333" y="210"/>
                    <a:pt x="333" y="210"/>
                  </a:cubicBezTo>
                  <a:cubicBezTo>
                    <a:pt x="327" y="206"/>
                    <a:pt x="322" y="201"/>
                    <a:pt x="317" y="196"/>
                  </a:cubicBezTo>
                  <a:cubicBezTo>
                    <a:pt x="311" y="191"/>
                    <a:pt x="307" y="186"/>
                    <a:pt x="303" y="180"/>
                  </a:cubicBezTo>
                  <a:cubicBezTo>
                    <a:pt x="342" y="141"/>
                    <a:pt x="342" y="141"/>
                    <a:pt x="342" y="141"/>
                  </a:cubicBezTo>
                  <a:cubicBezTo>
                    <a:pt x="344" y="139"/>
                    <a:pt x="345" y="135"/>
                    <a:pt x="344" y="131"/>
                  </a:cubicBezTo>
                  <a:cubicBezTo>
                    <a:pt x="344" y="128"/>
                    <a:pt x="341" y="125"/>
                    <a:pt x="338" y="124"/>
                  </a:cubicBezTo>
                  <a:cubicBezTo>
                    <a:pt x="313" y="115"/>
                    <a:pt x="287" y="118"/>
                    <a:pt x="265" y="131"/>
                  </a:cubicBezTo>
                  <a:cubicBezTo>
                    <a:pt x="259" y="135"/>
                    <a:pt x="253" y="139"/>
                    <a:pt x="249" y="144"/>
                  </a:cubicBezTo>
                  <a:cubicBezTo>
                    <a:pt x="227" y="165"/>
                    <a:pt x="219" y="197"/>
                    <a:pt x="227" y="226"/>
                  </a:cubicBezTo>
                  <a:cubicBezTo>
                    <a:pt x="122" y="331"/>
                    <a:pt x="122" y="331"/>
                    <a:pt x="122" y="331"/>
                  </a:cubicBezTo>
                  <a:cubicBezTo>
                    <a:pt x="114" y="339"/>
                    <a:pt x="109" y="350"/>
                    <a:pt x="109" y="361"/>
                  </a:cubicBezTo>
                  <a:cubicBezTo>
                    <a:pt x="109" y="372"/>
                    <a:pt x="114" y="383"/>
                    <a:pt x="122" y="391"/>
                  </a:cubicBezTo>
                  <a:cubicBezTo>
                    <a:pt x="130" y="399"/>
                    <a:pt x="140" y="404"/>
                    <a:pt x="152" y="404"/>
                  </a:cubicBezTo>
                  <a:cubicBezTo>
                    <a:pt x="163" y="404"/>
                    <a:pt x="174" y="399"/>
                    <a:pt x="182" y="391"/>
                  </a:cubicBezTo>
                  <a:cubicBezTo>
                    <a:pt x="287" y="286"/>
                    <a:pt x="287" y="286"/>
                    <a:pt x="287" y="286"/>
                  </a:cubicBezTo>
                  <a:cubicBezTo>
                    <a:pt x="316" y="294"/>
                    <a:pt x="348" y="286"/>
                    <a:pt x="369" y="264"/>
                  </a:cubicBezTo>
                  <a:cubicBezTo>
                    <a:pt x="374" y="260"/>
                    <a:pt x="378" y="254"/>
                    <a:pt x="382" y="248"/>
                  </a:cubicBezTo>
                  <a:cubicBezTo>
                    <a:pt x="395" y="226"/>
                    <a:pt x="398" y="200"/>
                    <a:pt x="389" y="1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E70FCD71-99EF-E1D4-F3AB-77F6AF95CB0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009161" y="3287766"/>
              <a:ext cx="174857" cy="279332"/>
            </a:xfrm>
            <a:custGeom>
              <a:avLst/>
              <a:gdLst>
                <a:gd name="T0" fmla="*/ 37 w 74"/>
                <a:gd name="T1" fmla="*/ 0 h 118"/>
                <a:gd name="T2" fmla="*/ 0 w 74"/>
                <a:gd name="T3" fmla="*/ 37 h 118"/>
                <a:gd name="T4" fmla="*/ 37 w 74"/>
                <a:gd name="T5" fmla="*/ 118 h 118"/>
                <a:gd name="T6" fmla="*/ 74 w 74"/>
                <a:gd name="T7" fmla="*/ 37 h 118"/>
                <a:gd name="T8" fmla="*/ 37 w 74"/>
                <a:gd name="T9" fmla="*/ 0 h 118"/>
                <a:gd name="T10" fmla="*/ 37 w 74"/>
                <a:gd name="T11" fmla="*/ 57 h 118"/>
                <a:gd name="T12" fmla="*/ 17 w 74"/>
                <a:gd name="T13" fmla="*/ 37 h 118"/>
                <a:gd name="T14" fmla="*/ 37 w 74"/>
                <a:gd name="T15" fmla="*/ 17 h 118"/>
                <a:gd name="T16" fmla="*/ 57 w 74"/>
                <a:gd name="T17" fmla="*/ 37 h 118"/>
                <a:gd name="T18" fmla="*/ 37 w 74"/>
                <a:gd name="T19" fmla="*/ 5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18">
                  <a:moveTo>
                    <a:pt x="37" y="0"/>
                  </a:moveTo>
                  <a:cubicBezTo>
                    <a:pt x="16" y="0"/>
                    <a:pt x="0" y="16"/>
                    <a:pt x="0" y="37"/>
                  </a:cubicBezTo>
                  <a:cubicBezTo>
                    <a:pt x="0" y="72"/>
                    <a:pt x="37" y="118"/>
                    <a:pt x="37" y="118"/>
                  </a:cubicBezTo>
                  <a:cubicBezTo>
                    <a:pt x="37" y="118"/>
                    <a:pt x="74" y="72"/>
                    <a:pt x="74" y="37"/>
                  </a:cubicBezTo>
                  <a:cubicBezTo>
                    <a:pt x="74" y="16"/>
                    <a:pt x="57" y="0"/>
                    <a:pt x="37" y="0"/>
                  </a:cubicBezTo>
                  <a:close/>
                  <a:moveTo>
                    <a:pt x="37" y="57"/>
                  </a:moveTo>
                  <a:cubicBezTo>
                    <a:pt x="26" y="57"/>
                    <a:pt x="17" y="48"/>
                    <a:pt x="17" y="37"/>
                  </a:cubicBezTo>
                  <a:cubicBezTo>
                    <a:pt x="17" y="26"/>
                    <a:pt x="26" y="17"/>
                    <a:pt x="37" y="17"/>
                  </a:cubicBezTo>
                  <a:cubicBezTo>
                    <a:pt x="48" y="17"/>
                    <a:pt x="57" y="26"/>
                    <a:pt x="57" y="37"/>
                  </a:cubicBezTo>
                  <a:cubicBezTo>
                    <a:pt x="57" y="48"/>
                    <a:pt x="48" y="57"/>
                    <a:pt x="37" y="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9CC0DD62-C213-7566-A467-1376584F72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14452" y="2905444"/>
              <a:ext cx="462417" cy="36329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General_Fill_44">
            <a:extLst>
              <a:ext uri="{FF2B5EF4-FFF2-40B4-BE49-F238E27FC236}">
                <a16:creationId xmlns:a16="http://schemas.microsoft.com/office/drawing/2014/main" id="{82E7EBA7-72C7-8637-A0A5-06F1759549B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586" y="1616196"/>
            <a:ext cx="487829" cy="487829"/>
          </a:xfrm>
          <a:custGeom>
            <a:avLst/>
            <a:gdLst>
              <a:gd name="T0" fmla="*/ 324 w 512"/>
              <a:gd name="T1" fmla="*/ 194 h 512"/>
              <a:gd name="T2" fmla="*/ 330 w 512"/>
              <a:gd name="T3" fmla="*/ 167 h 512"/>
              <a:gd name="T4" fmla="*/ 400 w 512"/>
              <a:gd name="T5" fmla="*/ 182 h 512"/>
              <a:gd name="T6" fmla="*/ 386 w 512"/>
              <a:gd name="T7" fmla="*/ 223 h 512"/>
              <a:gd name="T8" fmla="*/ 351 w 512"/>
              <a:gd name="T9" fmla="*/ 247 h 512"/>
              <a:gd name="T10" fmla="*/ 312 w 512"/>
              <a:gd name="T11" fmla="*/ 243 h 512"/>
              <a:gd name="T12" fmla="*/ 278 w 512"/>
              <a:gd name="T13" fmla="*/ 222 h 512"/>
              <a:gd name="T14" fmla="*/ 264 w 512"/>
              <a:gd name="T15" fmla="*/ 183 h 512"/>
              <a:gd name="T16" fmla="*/ 275 w 512"/>
              <a:gd name="T17" fmla="*/ 144 h 512"/>
              <a:gd name="T18" fmla="*/ 308 w 512"/>
              <a:gd name="T19" fmla="*/ 119 h 512"/>
              <a:gd name="T20" fmla="*/ 331 w 512"/>
              <a:gd name="T21" fmla="*/ 128 h 512"/>
              <a:gd name="T22" fmla="*/ 364 w 512"/>
              <a:gd name="T23" fmla="*/ 136 h 512"/>
              <a:gd name="T24" fmla="*/ 384 w 512"/>
              <a:gd name="T25" fmla="*/ 164 h 512"/>
              <a:gd name="T26" fmla="*/ 320 w 512"/>
              <a:gd name="T27" fmla="*/ 147 h 512"/>
              <a:gd name="T28" fmla="*/ 330 w 512"/>
              <a:gd name="T29" fmla="*/ 217 h 512"/>
              <a:gd name="T30" fmla="*/ 512 w 512"/>
              <a:gd name="T31" fmla="*/ 256 h 512"/>
              <a:gd name="T32" fmla="*/ 512 w 512"/>
              <a:gd name="T33" fmla="*/ 256 h 512"/>
              <a:gd name="T34" fmla="*/ 268 w 512"/>
              <a:gd name="T35" fmla="*/ 290 h 512"/>
              <a:gd name="T36" fmla="*/ 236 w 512"/>
              <a:gd name="T37" fmla="*/ 251 h 512"/>
              <a:gd name="T38" fmla="*/ 187 w 512"/>
              <a:gd name="T39" fmla="*/ 238 h 512"/>
              <a:gd name="T40" fmla="*/ 140 w 512"/>
              <a:gd name="T41" fmla="*/ 256 h 512"/>
              <a:gd name="T42" fmla="*/ 113 w 512"/>
              <a:gd name="T43" fmla="*/ 299 h 512"/>
              <a:gd name="T44" fmla="*/ 115 w 512"/>
              <a:gd name="T45" fmla="*/ 350 h 512"/>
              <a:gd name="T46" fmla="*/ 147 w 512"/>
              <a:gd name="T47" fmla="*/ 388 h 512"/>
              <a:gd name="T48" fmla="*/ 196 w 512"/>
              <a:gd name="T49" fmla="*/ 401 h 512"/>
              <a:gd name="T50" fmla="*/ 237 w 512"/>
              <a:gd name="T51" fmla="*/ 383 h 512"/>
              <a:gd name="T52" fmla="*/ 266 w 512"/>
              <a:gd name="T53" fmla="*/ 345 h 512"/>
              <a:gd name="T54" fmla="*/ 410 w 512"/>
              <a:gd name="T55" fmla="*/ 163 h 512"/>
              <a:gd name="T56" fmla="*/ 384 w 512"/>
              <a:gd name="T57" fmla="*/ 119 h 512"/>
              <a:gd name="T58" fmla="*/ 337 w 512"/>
              <a:gd name="T59" fmla="*/ 99 h 512"/>
              <a:gd name="T60" fmla="*/ 288 w 512"/>
              <a:gd name="T61" fmla="*/ 111 h 512"/>
              <a:gd name="T62" fmla="*/ 255 w 512"/>
              <a:gd name="T63" fmla="*/ 149 h 512"/>
              <a:gd name="T64" fmla="*/ 251 w 512"/>
              <a:gd name="T65" fmla="*/ 199 h 512"/>
              <a:gd name="T66" fmla="*/ 277 w 512"/>
              <a:gd name="T67" fmla="*/ 243 h 512"/>
              <a:gd name="T68" fmla="*/ 323 w 512"/>
              <a:gd name="T69" fmla="*/ 263 h 512"/>
              <a:gd name="T70" fmla="*/ 358 w 512"/>
              <a:gd name="T71" fmla="*/ 270 h 512"/>
              <a:gd name="T72" fmla="*/ 405 w 512"/>
              <a:gd name="T73" fmla="*/ 237 h 512"/>
              <a:gd name="T74" fmla="*/ 423 w 512"/>
              <a:gd name="T75" fmla="*/ 182 h 512"/>
              <a:gd name="T76" fmla="*/ 179 w 512"/>
              <a:gd name="T77" fmla="*/ 313 h 512"/>
              <a:gd name="T78" fmla="*/ 204 w 512"/>
              <a:gd name="T79" fmla="*/ 326 h 512"/>
              <a:gd name="T80" fmla="*/ 262 w 512"/>
              <a:gd name="T81" fmla="*/ 321 h 512"/>
              <a:gd name="T82" fmla="*/ 248 w 512"/>
              <a:gd name="T83" fmla="*/ 361 h 512"/>
              <a:gd name="T84" fmla="*/ 212 w 512"/>
              <a:gd name="T85" fmla="*/ 386 h 512"/>
              <a:gd name="T86" fmla="*/ 173 w 512"/>
              <a:gd name="T87" fmla="*/ 382 h 512"/>
              <a:gd name="T88" fmla="*/ 139 w 512"/>
              <a:gd name="T89" fmla="*/ 360 h 512"/>
              <a:gd name="T90" fmla="*/ 125 w 512"/>
              <a:gd name="T91" fmla="*/ 321 h 512"/>
              <a:gd name="T92" fmla="*/ 137 w 512"/>
              <a:gd name="T93" fmla="*/ 282 h 512"/>
              <a:gd name="T94" fmla="*/ 169 w 512"/>
              <a:gd name="T95" fmla="*/ 258 h 512"/>
              <a:gd name="T96" fmla="*/ 193 w 512"/>
              <a:gd name="T97" fmla="*/ 266 h 512"/>
              <a:gd name="T98" fmla="*/ 226 w 512"/>
              <a:gd name="T99" fmla="*/ 274 h 512"/>
              <a:gd name="T100" fmla="*/ 246 w 512"/>
              <a:gd name="T101" fmla="*/ 303 h 512"/>
              <a:gd name="T102" fmla="*/ 181 w 512"/>
              <a:gd name="T103" fmla="*/ 286 h 512"/>
              <a:gd name="T104" fmla="*/ 192 w 512"/>
              <a:gd name="T105" fmla="*/ 35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344" y="177"/>
                </a:moveTo>
                <a:cubicBezTo>
                  <a:pt x="345" y="180"/>
                  <a:pt x="345" y="184"/>
                  <a:pt x="343" y="188"/>
                </a:cubicBezTo>
                <a:cubicBezTo>
                  <a:pt x="341" y="191"/>
                  <a:pt x="338" y="193"/>
                  <a:pt x="335" y="195"/>
                </a:cubicBezTo>
                <a:cubicBezTo>
                  <a:pt x="331" y="196"/>
                  <a:pt x="327" y="195"/>
                  <a:pt x="324" y="194"/>
                </a:cubicBezTo>
                <a:cubicBezTo>
                  <a:pt x="320" y="192"/>
                  <a:pt x="318" y="189"/>
                  <a:pt x="317" y="185"/>
                </a:cubicBezTo>
                <a:cubicBezTo>
                  <a:pt x="316" y="182"/>
                  <a:pt x="316" y="178"/>
                  <a:pt x="318" y="174"/>
                </a:cubicBezTo>
                <a:cubicBezTo>
                  <a:pt x="320" y="171"/>
                  <a:pt x="322" y="169"/>
                  <a:pt x="326" y="167"/>
                </a:cubicBezTo>
                <a:cubicBezTo>
                  <a:pt x="328" y="167"/>
                  <a:pt x="329" y="167"/>
                  <a:pt x="330" y="167"/>
                </a:cubicBezTo>
                <a:cubicBezTo>
                  <a:pt x="333" y="167"/>
                  <a:pt x="335" y="167"/>
                  <a:pt x="337" y="168"/>
                </a:cubicBezTo>
                <a:cubicBezTo>
                  <a:pt x="340" y="170"/>
                  <a:pt x="343" y="173"/>
                  <a:pt x="344" y="177"/>
                </a:cubicBezTo>
                <a:close/>
                <a:moveTo>
                  <a:pt x="397" y="179"/>
                </a:moveTo>
                <a:cubicBezTo>
                  <a:pt x="398" y="180"/>
                  <a:pt x="399" y="181"/>
                  <a:pt x="400" y="182"/>
                </a:cubicBezTo>
                <a:cubicBezTo>
                  <a:pt x="399" y="183"/>
                  <a:pt x="398" y="184"/>
                  <a:pt x="397" y="185"/>
                </a:cubicBezTo>
                <a:cubicBezTo>
                  <a:pt x="392" y="189"/>
                  <a:pt x="386" y="193"/>
                  <a:pt x="384" y="199"/>
                </a:cubicBezTo>
                <a:cubicBezTo>
                  <a:pt x="382" y="206"/>
                  <a:pt x="384" y="212"/>
                  <a:pt x="385" y="218"/>
                </a:cubicBezTo>
                <a:cubicBezTo>
                  <a:pt x="386" y="220"/>
                  <a:pt x="386" y="221"/>
                  <a:pt x="386" y="223"/>
                </a:cubicBezTo>
                <a:cubicBezTo>
                  <a:pt x="385" y="223"/>
                  <a:pt x="383" y="223"/>
                  <a:pt x="382" y="223"/>
                </a:cubicBezTo>
                <a:cubicBezTo>
                  <a:pt x="376" y="223"/>
                  <a:pt x="369" y="223"/>
                  <a:pt x="363" y="227"/>
                </a:cubicBezTo>
                <a:cubicBezTo>
                  <a:pt x="357" y="231"/>
                  <a:pt x="355" y="237"/>
                  <a:pt x="353" y="243"/>
                </a:cubicBezTo>
                <a:cubicBezTo>
                  <a:pt x="352" y="244"/>
                  <a:pt x="352" y="246"/>
                  <a:pt x="351" y="247"/>
                </a:cubicBezTo>
                <a:cubicBezTo>
                  <a:pt x="350" y="246"/>
                  <a:pt x="348" y="244"/>
                  <a:pt x="347" y="244"/>
                </a:cubicBezTo>
                <a:cubicBezTo>
                  <a:pt x="342" y="240"/>
                  <a:pt x="336" y="234"/>
                  <a:pt x="330" y="234"/>
                </a:cubicBezTo>
                <a:cubicBezTo>
                  <a:pt x="329" y="234"/>
                  <a:pt x="329" y="234"/>
                  <a:pt x="329" y="234"/>
                </a:cubicBezTo>
                <a:cubicBezTo>
                  <a:pt x="322" y="234"/>
                  <a:pt x="317" y="240"/>
                  <a:pt x="312" y="243"/>
                </a:cubicBezTo>
                <a:cubicBezTo>
                  <a:pt x="311" y="244"/>
                  <a:pt x="309" y="246"/>
                  <a:pt x="308" y="247"/>
                </a:cubicBezTo>
                <a:cubicBezTo>
                  <a:pt x="307" y="246"/>
                  <a:pt x="307" y="244"/>
                  <a:pt x="306" y="243"/>
                </a:cubicBezTo>
                <a:cubicBezTo>
                  <a:pt x="304" y="237"/>
                  <a:pt x="302" y="230"/>
                  <a:pt x="296" y="226"/>
                </a:cubicBezTo>
                <a:cubicBezTo>
                  <a:pt x="291" y="222"/>
                  <a:pt x="284" y="222"/>
                  <a:pt x="278" y="222"/>
                </a:cubicBezTo>
                <a:cubicBezTo>
                  <a:pt x="277" y="222"/>
                  <a:pt x="275" y="222"/>
                  <a:pt x="273" y="221"/>
                </a:cubicBezTo>
                <a:cubicBezTo>
                  <a:pt x="274" y="220"/>
                  <a:pt x="274" y="218"/>
                  <a:pt x="274" y="217"/>
                </a:cubicBezTo>
                <a:cubicBezTo>
                  <a:pt x="276" y="211"/>
                  <a:pt x="278" y="204"/>
                  <a:pt x="276" y="198"/>
                </a:cubicBezTo>
                <a:cubicBezTo>
                  <a:pt x="274" y="191"/>
                  <a:pt x="269" y="187"/>
                  <a:pt x="264" y="183"/>
                </a:cubicBezTo>
                <a:cubicBezTo>
                  <a:pt x="263" y="182"/>
                  <a:pt x="261" y="181"/>
                  <a:pt x="260" y="180"/>
                </a:cubicBezTo>
                <a:cubicBezTo>
                  <a:pt x="262" y="179"/>
                  <a:pt x="263" y="178"/>
                  <a:pt x="264" y="177"/>
                </a:cubicBezTo>
                <a:cubicBezTo>
                  <a:pt x="269" y="173"/>
                  <a:pt x="275" y="169"/>
                  <a:pt x="277" y="163"/>
                </a:cubicBezTo>
                <a:cubicBezTo>
                  <a:pt x="279" y="156"/>
                  <a:pt x="277" y="150"/>
                  <a:pt x="275" y="144"/>
                </a:cubicBezTo>
                <a:cubicBezTo>
                  <a:pt x="275" y="142"/>
                  <a:pt x="275" y="141"/>
                  <a:pt x="274" y="139"/>
                </a:cubicBezTo>
                <a:cubicBezTo>
                  <a:pt x="276" y="139"/>
                  <a:pt x="278" y="139"/>
                  <a:pt x="279" y="139"/>
                </a:cubicBezTo>
                <a:cubicBezTo>
                  <a:pt x="285" y="139"/>
                  <a:pt x="292" y="139"/>
                  <a:pt x="298" y="135"/>
                </a:cubicBezTo>
                <a:cubicBezTo>
                  <a:pt x="303" y="131"/>
                  <a:pt x="306" y="125"/>
                  <a:pt x="308" y="119"/>
                </a:cubicBezTo>
                <a:cubicBezTo>
                  <a:pt x="308" y="118"/>
                  <a:pt x="309" y="116"/>
                  <a:pt x="310" y="115"/>
                </a:cubicBezTo>
                <a:cubicBezTo>
                  <a:pt x="311" y="116"/>
                  <a:pt x="313" y="118"/>
                  <a:pt x="314" y="118"/>
                </a:cubicBezTo>
                <a:cubicBezTo>
                  <a:pt x="319" y="122"/>
                  <a:pt x="324" y="128"/>
                  <a:pt x="331" y="128"/>
                </a:cubicBezTo>
                <a:cubicBezTo>
                  <a:pt x="331" y="128"/>
                  <a:pt x="331" y="128"/>
                  <a:pt x="331" y="128"/>
                </a:cubicBezTo>
                <a:cubicBezTo>
                  <a:pt x="338" y="128"/>
                  <a:pt x="344" y="122"/>
                  <a:pt x="349" y="119"/>
                </a:cubicBezTo>
                <a:cubicBezTo>
                  <a:pt x="350" y="118"/>
                  <a:pt x="352" y="116"/>
                  <a:pt x="353" y="115"/>
                </a:cubicBezTo>
                <a:cubicBezTo>
                  <a:pt x="353" y="116"/>
                  <a:pt x="354" y="118"/>
                  <a:pt x="354" y="119"/>
                </a:cubicBezTo>
                <a:cubicBezTo>
                  <a:pt x="356" y="125"/>
                  <a:pt x="359" y="132"/>
                  <a:pt x="364" y="136"/>
                </a:cubicBezTo>
                <a:cubicBezTo>
                  <a:pt x="370" y="140"/>
                  <a:pt x="377" y="140"/>
                  <a:pt x="383" y="140"/>
                </a:cubicBezTo>
                <a:cubicBezTo>
                  <a:pt x="384" y="140"/>
                  <a:pt x="386" y="140"/>
                  <a:pt x="387" y="141"/>
                </a:cubicBezTo>
                <a:cubicBezTo>
                  <a:pt x="387" y="142"/>
                  <a:pt x="387" y="144"/>
                  <a:pt x="386" y="145"/>
                </a:cubicBezTo>
                <a:cubicBezTo>
                  <a:pt x="384" y="151"/>
                  <a:pt x="382" y="158"/>
                  <a:pt x="384" y="164"/>
                </a:cubicBezTo>
                <a:cubicBezTo>
                  <a:pt x="386" y="171"/>
                  <a:pt x="392" y="175"/>
                  <a:pt x="397" y="179"/>
                </a:cubicBezTo>
                <a:close/>
                <a:moveTo>
                  <a:pt x="364" y="170"/>
                </a:moveTo>
                <a:cubicBezTo>
                  <a:pt x="361" y="161"/>
                  <a:pt x="355" y="154"/>
                  <a:pt x="347" y="150"/>
                </a:cubicBezTo>
                <a:cubicBezTo>
                  <a:pt x="338" y="145"/>
                  <a:pt x="329" y="144"/>
                  <a:pt x="320" y="147"/>
                </a:cubicBezTo>
                <a:cubicBezTo>
                  <a:pt x="311" y="150"/>
                  <a:pt x="303" y="156"/>
                  <a:pt x="299" y="164"/>
                </a:cubicBezTo>
                <a:cubicBezTo>
                  <a:pt x="294" y="173"/>
                  <a:pt x="294" y="182"/>
                  <a:pt x="296" y="192"/>
                </a:cubicBezTo>
                <a:cubicBezTo>
                  <a:pt x="299" y="201"/>
                  <a:pt x="305" y="208"/>
                  <a:pt x="314" y="212"/>
                </a:cubicBezTo>
                <a:cubicBezTo>
                  <a:pt x="319" y="215"/>
                  <a:pt x="325" y="217"/>
                  <a:pt x="330" y="217"/>
                </a:cubicBezTo>
                <a:cubicBezTo>
                  <a:pt x="334" y="217"/>
                  <a:pt x="337" y="216"/>
                  <a:pt x="341" y="215"/>
                </a:cubicBezTo>
                <a:cubicBezTo>
                  <a:pt x="350" y="212"/>
                  <a:pt x="357" y="206"/>
                  <a:pt x="362" y="198"/>
                </a:cubicBezTo>
                <a:cubicBezTo>
                  <a:pt x="366" y="189"/>
                  <a:pt x="367" y="180"/>
                  <a:pt x="364" y="17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4" y="321"/>
                </a:moveTo>
                <a:cubicBezTo>
                  <a:pt x="285" y="312"/>
                  <a:pt x="277" y="306"/>
                  <a:pt x="271" y="301"/>
                </a:cubicBezTo>
                <a:cubicBezTo>
                  <a:pt x="270" y="300"/>
                  <a:pt x="267" y="298"/>
                  <a:pt x="266" y="297"/>
                </a:cubicBezTo>
                <a:cubicBezTo>
                  <a:pt x="266" y="295"/>
                  <a:pt x="267" y="292"/>
                  <a:pt x="268" y="290"/>
                </a:cubicBezTo>
                <a:cubicBezTo>
                  <a:pt x="270" y="283"/>
                  <a:pt x="273" y="274"/>
                  <a:pt x="267" y="266"/>
                </a:cubicBezTo>
                <a:cubicBezTo>
                  <a:pt x="262" y="258"/>
                  <a:pt x="252" y="258"/>
                  <a:pt x="245" y="258"/>
                </a:cubicBezTo>
                <a:cubicBezTo>
                  <a:pt x="243" y="258"/>
                  <a:pt x="240" y="257"/>
                  <a:pt x="238" y="257"/>
                </a:cubicBezTo>
                <a:cubicBezTo>
                  <a:pt x="238" y="256"/>
                  <a:pt x="237" y="253"/>
                  <a:pt x="236" y="251"/>
                </a:cubicBezTo>
                <a:cubicBezTo>
                  <a:pt x="234" y="244"/>
                  <a:pt x="231" y="235"/>
                  <a:pt x="222" y="232"/>
                </a:cubicBezTo>
                <a:cubicBezTo>
                  <a:pt x="213" y="229"/>
                  <a:pt x="204" y="234"/>
                  <a:pt x="199" y="238"/>
                </a:cubicBezTo>
                <a:cubicBezTo>
                  <a:pt x="197" y="239"/>
                  <a:pt x="194" y="241"/>
                  <a:pt x="193" y="242"/>
                </a:cubicBezTo>
                <a:cubicBezTo>
                  <a:pt x="191" y="241"/>
                  <a:pt x="189" y="239"/>
                  <a:pt x="187" y="238"/>
                </a:cubicBezTo>
                <a:cubicBezTo>
                  <a:pt x="182" y="234"/>
                  <a:pt x="173" y="228"/>
                  <a:pt x="164" y="231"/>
                </a:cubicBezTo>
                <a:cubicBezTo>
                  <a:pt x="155" y="234"/>
                  <a:pt x="152" y="243"/>
                  <a:pt x="149" y="250"/>
                </a:cubicBezTo>
                <a:cubicBezTo>
                  <a:pt x="148" y="252"/>
                  <a:pt x="147" y="255"/>
                  <a:pt x="147" y="256"/>
                </a:cubicBezTo>
                <a:cubicBezTo>
                  <a:pt x="145" y="256"/>
                  <a:pt x="142" y="256"/>
                  <a:pt x="140" y="256"/>
                </a:cubicBezTo>
                <a:cubicBezTo>
                  <a:pt x="133" y="256"/>
                  <a:pt x="123" y="257"/>
                  <a:pt x="117" y="264"/>
                </a:cubicBezTo>
                <a:cubicBezTo>
                  <a:pt x="112" y="272"/>
                  <a:pt x="114" y="281"/>
                  <a:pt x="116" y="288"/>
                </a:cubicBezTo>
                <a:cubicBezTo>
                  <a:pt x="117" y="290"/>
                  <a:pt x="118" y="293"/>
                  <a:pt x="118" y="295"/>
                </a:cubicBezTo>
                <a:cubicBezTo>
                  <a:pt x="117" y="296"/>
                  <a:pt x="114" y="298"/>
                  <a:pt x="113" y="299"/>
                </a:cubicBezTo>
                <a:cubicBezTo>
                  <a:pt x="107" y="303"/>
                  <a:pt x="99" y="309"/>
                  <a:pt x="99" y="318"/>
                </a:cubicBezTo>
                <a:cubicBezTo>
                  <a:pt x="99" y="328"/>
                  <a:pt x="106" y="334"/>
                  <a:pt x="112" y="338"/>
                </a:cubicBezTo>
                <a:cubicBezTo>
                  <a:pt x="114" y="340"/>
                  <a:pt x="117" y="342"/>
                  <a:pt x="117" y="342"/>
                </a:cubicBezTo>
                <a:cubicBezTo>
                  <a:pt x="117" y="344"/>
                  <a:pt x="116" y="347"/>
                  <a:pt x="115" y="350"/>
                </a:cubicBezTo>
                <a:cubicBezTo>
                  <a:pt x="113" y="357"/>
                  <a:pt x="110" y="366"/>
                  <a:pt x="116" y="373"/>
                </a:cubicBezTo>
                <a:cubicBezTo>
                  <a:pt x="121" y="381"/>
                  <a:pt x="131" y="381"/>
                  <a:pt x="138" y="382"/>
                </a:cubicBezTo>
                <a:cubicBezTo>
                  <a:pt x="140" y="382"/>
                  <a:pt x="143" y="382"/>
                  <a:pt x="145" y="382"/>
                </a:cubicBezTo>
                <a:cubicBezTo>
                  <a:pt x="146" y="384"/>
                  <a:pt x="147" y="387"/>
                  <a:pt x="147" y="388"/>
                </a:cubicBezTo>
                <a:cubicBezTo>
                  <a:pt x="150" y="395"/>
                  <a:pt x="153" y="404"/>
                  <a:pt x="162" y="408"/>
                </a:cubicBezTo>
                <a:cubicBezTo>
                  <a:pt x="171" y="411"/>
                  <a:pt x="179" y="405"/>
                  <a:pt x="185" y="401"/>
                </a:cubicBezTo>
                <a:cubicBezTo>
                  <a:pt x="186" y="400"/>
                  <a:pt x="189" y="398"/>
                  <a:pt x="191" y="398"/>
                </a:cubicBezTo>
                <a:cubicBezTo>
                  <a:pt x="192" y="398"/>
                  <a:pt x="194" y="400"/>
                  <a:pt x="196" y="401"/>
                </a:cubicBezTo>
                <a:cubicBezTo>
                  <a:pt x="201" y="405"/>
                  <a:pt x="207" y="409"/>
                  <a:pt x="214" y="409"/>
                </a:cubicBezTo>
                <a:cubicBezTo>
                  <a:pt x="216" y="409"/>
                  <a:pt x="217" y="409"/>
                  <a:pt x="219" y="408"/>
                </a:cubicBezTo>
                <a:cubicBezTo>
                  <a:pt x="228" y="405"/>
                  <a:pt x="232" y="396"/>
                  <a:pt x="234" y="389"/>
                </a:cubicBezTo>
                <a:cubicBezTo>
                  <a:pt x="235" y="387"/>
                  <a:pt x="236" y="385"/>
                  <a:pt x="237" y="383"/>
                </a:cubicBezTo>
                <a:cubicBezTo>
                  <a:pt x="238" y="383"/>
                  <a:pt x="241" y="383"/>
                  <a:pt x="244" y="383"/>
                </a:cubicBezTo>
                <a:cubicBezTo>
                  <a:pt x="251" y="383"/>
                  <a:pt x="260" y="383"/>
                  <a:pt x="266" y="375"/>
                </a:cubicBezTo>
                <a:cubicBezTo>
                  <a:pt x="272" y="368"/>
                  <a:pt x="269" y="358"/>
                  <a:pt x="267" y="351"/>
                </a:cubicBezTo>
                <a:cubicBezTo>
                  <a:pt x="267" y="349"/>
                  <a:pt x="266" y="346"/>
                  <a:pt x="266" y="345"/>
                </a:cubicBezTo>
                <a:cubicBezTo>
                  <a:pt x="267" y="344"/>
                  <a:pt x="269" y="342"/>
                  <a:pt x="271" y="341"/>
                </a:cubicBezTo>
                <a:cubicBezTo>
                  <a:pt x="276" y="336"/>
                  <a:pt x="284" y="331"/>
                  <a:pt x="284" y="321"/>
                </a:cubicBezTo>
                <a:close/>
                <a:moveTo>
                  <a:pt x="423" y="182"/>
                </a:moveTo>
                <a:cubicBezTo>
                  <a:pt x="423" y="173"/>
                  <a:pt x="416" y="167"/>
                  <a:pt x="410" y="163"/>
                </a:cubicBezTo>
                <a:cubicBezTo>
                  <a:pt x="408" y="161"/>
                  <a:pt x="406" y="159"/>
                  <a:pt x="405" y="158"/>
                </a:cubicBezTo>
                <a:cubicBezTo>
                  <a:pt x="405" y="156"/>
                  <a:pt x="406" y="153"/>
                  <a:pt x="407" y="151"/>
                </a:cubicBezTo>
                <a:cubicBezTo>
                  <a:pt x="409" y="144"/>
                  <a:pt x="412" y="135"/>
                  <a:pt x="406" y="127"/>
                </a:cubicBezTo>
                <a:cubicBezTo>
                  <a:pt x="401" y="120"/>
                  <a:pt x="391" y="119"/>
                  <a:pt x="384" y="119"/>
                </a:cubicBezTo>
                <a:cubicBezTo>
                  <a:pt x="382" y="119"/>
                  <a:pt x="379" y="119"/>
                  <a:pt x="377" y="118"/>
                </a:cubicBezTo>
                <a:cubicBezTo>
                  <a:pt x="376" y="117"/>
                  <a:pt x="375" y="114"/>
                  <a:pt x="375" y="112"/>
                </a:cubicBezTo>
                <a:cubicBezTo>
                  <a:pt x="372" y="105"/>
                  <a:pt x="369" y="96"/>
                  <a:pt x="360" y="93"/>
                </a:cubicBezTo>
                <a:cubicBezTo>
                  <a:pt x="351" y="90"/>
                  <a:pt x="343" y="95"/>
                  <a:pt x="337" y="99"/>
                </a:cubicBezTo>
                <a:cubicBezTo>
                  <a:pt x="336" y="101"/>
                  <a:pt x="333" y="102"/>
                  <a:pt x="331" y="103"/>
                </a:cubicBezTo>
                <a:cubicBezTo>
                  <a:pt x="330" y="102"/>
                  <a:pt x="328" y="101"/>
                  <a:pt x="326" y="99"/>
                </a:cubicBezTo>
                <a:cubicBezTo>
                  <a:pt x="320" y="95"/>
                  <a:pt x="312" y="89"/>
                  <a:pt x="303" y="92"/>
                </a:cubicBezTo>
                <a:cubicBezTo>
                  <a:pt x="294" y="95"/>
                  <a:pt x="290" y="105"/>
                  <a:pt x="288" y="111"/>
                </a:cubicBezTo>
                <a:cubicBezTo>
                  <a:pt x="287" y="113"/>
                  <a:pt x="286" y="116"/>
                  <a:pt x="285" y="117"/>
                </a:cubicBezTo>
                <a:cubicBezTo>
                  <a:pt x="284" y="118"/>
                  <a:pt x="281" y="118"/>
                  <a:pt x="279" y="118"/>
                </a:cubicBezTo>
                <a:cubicBezTo>
                  <a:pt x="271" y="118"/>
                  <a:pt x="262" y="118"/>
                  <a:pt x="256" y="125"/>
                </a:cubicBezTo>
                <a:cubicBezTo>
                  <a:pt x="250" y="133"/>
                  <a:pt x="253" y="142"/>
                  <a:pt x="255" y="149"/>
                </a:cubicBezTo>
                <a:cubicBezTo>
                  <a:pt x="255" y="151"/>
                  <a:pt x="256" y="154"/>
                  <a:pt x="256" y="156"/>
                </a:cubicBezTo>
                <a:cubicBezTo>
                  <a:pt x="255" y="157"/>
                  <a:pt x="253" y="159"/>
                  <a:pt x="251" y="160"/>
                </a:cubicBezTo>
                <a:cubicBezTo>
                  <a:pt x="246" y="164"/>
                  <a:pt x="238" y="170"/>
                  <a:pt x="238" y="180"/>
                </a:cubicBezTo>
                <a:cubicBezTo>
                  <a:pt x="237" y="189"/>
                  <a:pt x="245" y="195"/>
                  <a:pt x="251" y="199"/>
                </a:cubicBezTo>
                <a:cubicBezTo>
                  <a:pt x="252" y="201"/>
                  <a:pt x="255" y="203"/>
                  <a:pt x="256" y="204"/>
                </a:cubicBezTo>
                <a:cubicBezTo>
                  <a:pt x="256" y="205"/>
                  <a:pt x="255" y="209"/>
                  <a:pt x="254" y="211"/>
                </a:cubicBezTo>
                <a:cubicBezTo>
                  <a:pt x="252" y="218"/>
                  <a:pt x="249" y="227"/>
                  <a:pt x="255" y="235"/>
                </a:cubicBezTo>
                <a:cubicBezTo>
                  <a:pt x="260" y="242"/>
                  <a:pt x="270" y="243"/>
                  <a:pt x="277" y="243"/>
                </a:cubicBezTo>
                <a:cubicBezTo>
                  <a:pt x="279" y="243"/>
                  <a:pt x="282" y="243"/>
                  <a:pt x="284" y="244"/>
                </a:cubicBezTo>
                <a:cubicBezTo>
                  <a:pt x="284" y="245"/>
                  <a:pt x="285" y="248"/>
                  <a:pt x="286" y="250"/>
                </a:cubicBezTo>
                <a:cubicBezTo>
                  <a:pt x="288" y="257"/>
                  <a:pt x="291" y="266"/>
                  <a:pt x="300" y="269"/>
                </a:cubicBezTo>
                <a:cubicBezTo>
                  <a:pt x="309" y="272"/>
                  <a:pt x="317" y="267"/>
                  <a:pt x="323" y="263"/>
                </a:cubicBezTo>
                <a:cubicBezTo>
                  <a:pt x="325" y="261"/>
                  <a:pt x="328" y="260"/>
                  <a:pt x="329" y="259"/>
                </a:cubicBezTo>
                <a:cubicBezTo>
                  <a:pt x="331" y="260"/>
                  <a:pt x="333" y="261"/>
                  <a:pt x="335" y="263"/>
                </a:cubicBezTo>
                <a:cubicBezTo>
                  <a:pt x="339" y="266"/>
                  <a:pt x="346" y="270"/>
                  <a:pt x="353" y="270"/>
                </a:cubicBezTo>
                <a:cubicBezTo>
                  <a:pt x="354" y="270"/>
                  <a:pt x="356" y="270"/>
                  <a:pt x="358" y="270"/>
                </a:cubicBezTo>
                <a:cubicBezTo>
                  <a:pt x="367" y="267"/>
                  <a:pt x="370" y="257"/>
                  <a:pt x="373" y="251"/>
                </a:cubicBezTo>
                <a:cubicBezTo>
                  <a:pt x="374" y="249"/>
                  <a:pt x="375" y="246"/>
                  <a:pt x="375" y="245"/>
                </a:cubicBezTo>
                <a:cubicBezTo>
                  <a:pt x="377" y="244"/>
                  <a:pt x="380" y="244"/>
                  <a:pt x="382" y="244"/>
                </a:cubicBezTo>
                <a:cubicBezTo>
                  <a:pt x="389" y="244"/>
                  <a:pt x="399" y="244"/>
                  <a:pt x="405" y="237"/>
                </a:cubicBezTo>
                <a:cubicBezTo>
                  <a:pt x="410" y="229"/>
                  <a:pt x="408" y="220"/>
                  <a:pt x="406" y="213"/>
                </a:cubicBezTo>
                <a:cubicBezTo>
                  <a:pt x="405" y="211"/>
                  <a:pt x="404" y="208"/>
                  <a:pt x="404" y="206"/>
                </a:cubicBezTo>
                <a:cubicBezTo>
                  <a:pt x="405" y="205"/>
                  <a:pt x="408" y="203"/>
                  <a:pt x="409" y="202"/>
                </a:cubicBezTo>
                <a:cubicBezTo>
                  <a:pt x="415" y="198"/>
                  <a:pt x="423" y="192"/>
                  <a:pt x="423" y="182"/>
                </a:cubicBezTo>
                <a:close/>
                <a:moveTo>
                  <a:pt x="198" y="307"/>
                </a:moveTo>
                <a:cubicBezTo>
                  <a:pt x="196" y="306"/>
                  <a:pt x="194" y="305"/>
                  <a:pt x="192" y="305"/>
                </a:cubicBezTo>
                <a:cubicBezTo>
                  <a:pt x="190" y="305"/>
                  <a:pt x="189" y="306"/>
                  <a:pt x="187" y="306"/>
                </a:cubicBezTo>
                <a:cubicBezTo>
                  <a:pt x="184" y="307"/>
                  <a:pt x="181" y="310"/>
                  <a:pt x="179" y="313"/>
                </a:cubicBezTo>
                <a:cubicBezTo>
                  <a:pt x="177" y="316"/>
                  <a:pt x="177" y="320"/>
                  <a:pt x="178" y="324"/>
                </a:cubicBezTo>
                <a:cubicBezTo>
                  <a:pt x="179" y="328"/>
                  <a:pt x="182" y="330"/>
                  <a:pt x="185" y="332"/>
                </a:cubicBezTo>
                <a:cubicBezTo>
                  <a:pt x="188" y="334"/>
                  <a:pt x="192" y="334"/>
                  <a:pt x="196" y="333"/>
                </a:cubicBezTo>
                <a:cubicBezTo>
                  <a:pt x="200" y="332"/>
                  <a:pt x="202" y="330"/>
                  <a:pt x="204" y="326"/>
                </a:cubicBezTo>
                <a:cubicBezTo>
                  <a:pt x="206" y="323"/>
                  <a:pt x="206" y="319"/>
                  <a:pt x="205" y="315"/>
                </a:cubicBezTo>
                <a:cubicBezTo>
                  <a:pt x="204" y="312"/>
                  <a:pt x="202" y="309"/>
                  <a:pt x="198" y="307"/>
                </a:cubicBezTo>
                <a:close/>
                <a:moveTo>
                  <a:pt x="258" y="318"/>
                </a:moveTo>
                <a:cubicBezTo>
                  <a:pt x="259" y="319"/>
                  <a:pt x="261" y="320"/>
                  <a:pt x="262" y="321"/>
                </a:cubicBezTo>
                <a:cubicBezTo>
                  <a:pt x="260" y="322"/>
                  <a:pt x="259" y="323"/>
                  <a:pt x="258" y="324"/>
                </a:cubicBezTo>
                <a:cubicBezTo>
                  <a:pt x="253" y="327"/>
                  <a:pt x="247" y="331"/>
                  <a:pt x="245" y="338"/>
                </a:cubicBezTo>
                <a:cubicBezTo>
                  <a:pt x="243" y="344"/>
                  <a:pt x="245" y="351"/>
                  <a:pt x="247" y="357"/>
                </a:cubicBezTo>
                <a:cubicBezTo>
                  <a:pt x="247" y="358"/>
                  <a:pt x="247" y="360"/>
                  <a:pt x="248" y="361"/>
                </a:cubicBezTo>
                <a:cubicBezTo>
                  <a:pt x="246" y="362"/>
                  <a:pt x="244" y="362"/>
                  <a:pt x="243" y="362"/>
                </a:cubicBezTo>
                <a:cubicBezTo>
                  <a:pt x="237" y="362"/>
                  <a:pt x="230" y="362"/>
                  <a:pt x="224" y="366"/>
                </a:cubicBezTo>
                <a:cubicBezTo>
                  <a:pt x="219" y="370"/>
                  <a:pt x="216" y="376"/>
                  <a:pt x="214" y="382"/>
                </a:cubicBezTo>
                <a:cubicBezTo>
                  <a:pt x="214" y="383"/>
                  <a:pt x="213" y="384"/>
                  <a:pt x="212" y="386"/>
                </a:cubicBezTo>
                <a:cubicBezTo>
                  <a:pt x="211" y="385"/>
                  <a:pt x="209" y="383"/>
                  <a:pt x="208" y="382"/>
                </a:cubicBezTo>
                <a:cubicBezTo>
                  <a:pt x="203" y="379"/>
                  <a:pt x="198" y="373"/>
                  <a:pt x="191" y="373"/>
                </a:cubicBezTo>
                <a:cubicBezTo>
                  <a:pt x="191" y="373"/>
                  <a:pt x="191" y="373"/>
                  <a:pt x="191" y="373"/>
                </a:cubicBezTo>
                <a:cubicBezTo>
                  <a:pt x="184" y="373"/>
                  <a:pt x="178" y="378"/>
                  <a:pt x="173" y="382"/>
                </a:cubicBezTo>
                <a:cubicBezTo>
                  <a:pt x="172" y="383"/>
                  <a:pt x="170" y="385"/>
                  <a:pt x="169" y="386"/>
                </a:cubicBezTo>
                <a:cubicBezTo>
                  <a:pt x="169" y="385"/>
                  <a:pt x="168" y="383"/>
                  <a:pt x="168" y="382"/>
                </a:cubicBezTo>
                <a:cubicBezTo>
                  <a:pt x="166" y="376"/>
                  <a:pt x="163" y="369"/>
                  <a:pt x="158" y="365"/>
                </a:cubicBezTo>
                <a:cubicBezTo>
                  <a:pt x="152" y="361"/>
                  <a:pt x="145" y="361"/>
                  <a:pt x="139" y="360"/>
                </a:cubicBezTo>
                <a:cubicBezTo>
                  <a:pt x="138" y="360"/>
                  <a:pt x="136" y="360"/>
                  <a:pt x="135" y="360"/>
                </a:cubicBezTo>
                <a:cubicBezTo>
                  <a:pt x="135" y="359"/>
                  <a:pt x="135" y="357"/>
                  <a:pt x="136" y="356"/>
                </a:cubicBezTo>
                <a:cubicBezTo>
                  <a:pt x="138" y="350"/>
                  <a:pt x="140" y="343"/>
                  <a:pt x="138" y="336"/>
                </a:cubicBezTo>
                <a:cubicBezTo>
                  <a:pt x="136" y="330"/>
                  <a:pt x="130" y="325"/>
                  <a:pt x="125" y="321"/>
                </a:cubicBezTo>
                <a:cubicBezTo>
                  <a:pt x="124" y="321"/>
                  <a:pt x="123" y="320"/>
                  <a:pt x="122" y="319"/>
                </a:cubicBezTo>
                <a:cubicBezTo>
                  <a:pt x="123" y="318"/>
                  <a:pt x="124" y="317"/>
                  <a:pt x="125" y="316"/>
                </a:cubicBezTo>
                <a:cubicBezTo>
                  <a:pt x="130" y="312"/>
                  <a:pt x="136" y="308"/>
                  <a:pt x="138" y="302"/>
                </a:cubicBezTo>
                <a:cubicBezTo>
                  <a:pt x="140" y="295"/>
                  <a:pt x="138" y="288"/>
                  <a:pt x="137" y="282"/>
                </a:cubicBezTo>
                <a:cubicBezTo>
                  <a:pt x="136" y="281"/>
                  <a:pt x="136" y="279"/>
                  <a:pt x="136" y="278"/>
                </a:cubicBezTo>
                <a:cubicBezTo>
                  <a:pt x="137" y="278"/>
                  <a:pt x="139" y="278"/>
                  <a:pt x="140" y="278"/>
                </a:cubicBezTo>
                <a:cubicBezTo>
                  <a:pt x="146" y="278"/>
                  <a:pt x="153" y="278"/>
                  <a:pt x="159" y="274"/>
                </a:cubicBezTo>
                <a:cubicBezTo>
                  <a:pt x="165" y="270"/>
                  <a:pt x="167" y="263"/>
                  <a:pt x="169" y="258"/>
                </a:cubicBezTo>
                <a:cubicBezTo>
                  <a:pt x="170" y="256"/>
                  <a:pt x="170" y="255"/>
                  <a:pt x="171" y="253"/>
                </a:cubicBezTo>
                <a:cubicBezTo>
                  <a:pt x="172" y="254"/>
                  <a:pt x="174" y="256"/>
                  <a:pt x="175" y="257"/>
                </a:cubicBezTo>
                <a:cubicBezTo>
                  <a:pt x="180" y="261"/>
                  <a:pt x="186" y="266"/>
                  <a:pt x="192" y="266"/>
                </a:cubicBezTo>
                <a:cubicBezTo>
                  <a:pt x="193" y="266"/>
                  <a:pt x="193" y="266"/>
                  <a:pt x="193" y="266"/>
                </a:cubicBezTo>
                <a:cubicBezTo>
                  <a:pt x="200" y="266"/>
                  <a:pt x="205" y="261"/>
                  <a:pt x="210" y="257"/>
                </a:cubicBezTo>
                <a:cubicBezTo>
                  <a:pt x="211" y="257"/>
                  <a:pt x="213" y="254"/>
                  <a:pt x="214" y="253"/>
                </a:cubicBezTo>
                <a:cubicBezTo>
                  <a:pt x="215" y="255"/>
                  <a:pt x="215" y="257"/>
                  <a:pt x="216" y="258"/>
                </a:cubicBezTo>
                <a:cubicBezTo>
                  <a:pt x="218" y="264"/>
                  <a:pt x="220" y="270"/>
                  <a:pt x="226" y="274"/>
                </a:cubicBezTo>
                <a:cubicBezTo>
                  <a:pt x="231" y="278"/>
                  <a:pt x="238" y="279"/>
                  <a:pt x="244" y="279"/>
                </a:cubicBezTo>
                <a:cubicBezTo>
                  <a:pt x="245" y="279"/>
                  <a:pt x="247" y="279"/>
                  <a:pt x="249" y="279"/>
                </a:cubicBezTo>
                <a:cubicBezTo>
                  <a:pt x="248" y="281"/>
                  <a:pt x="248" y="282"/>
                  <a:pt x="248" y="283"/>
                </a:cubicBezTo>
                <a:cubicBezTo>
                  <a:pt x="246" y="289"/>
                  <a:pt x="244" y="296"/>
                  <a:pt x="246" y="303"/>
                </a:cubicBezTo>
                <a:cubicBezTo>
                  <a:pt x="248" y="310"/>
                  <a:pt x="253" y="314"/>
                  <a:pt x="258" y="318"/>
                </a:cubicBezTo>
                <a:close/>
                <a:moveTo>
                  <a:pt x="226" y="309"/>
                </a:moveTo>
                <a:cubicBezTo>
                  <a:pt x="223" y="300"/>
                  <a:pt x="217" y="293"/>
                  <a:pt x="208" y="288"/>
                </a:cubicBezTo>
                <a:cubicBezTo>
                  <a:pt x="200" y="284"/>
                  <a:pt x="190" y="283"/>
                  <a:pt x="181" y="286"/>
                </a:cubicBezTo>
                <a:cubicBezTo>
                  <a:pt x="172" y="289"/>
                  <a:pt x="165" y="295"/>
                  <a:pt x="160" y="303"/>
                </a:cubicBezTo>
                <a:cubicBezTo>
                  <a:pt x="156" y="312"/>
                  <a:pt x="155" y="321"/>
                  <a:pt x="158" y="330"/>
                </a:cubicBezTo>
                <a:cubicBezTo>
                  <a:pt x="161" y="339"/>
                  <a:pt x="167" y="347"/>
                  <a:pt x="175" y="351"/>
                </a:cubicBezTo>
                <a:cubicBezTo>
                  <a:pt x="180" y="354"/>
                  <a:pt x="186" y="355"/>
                  <a:pt x="192" y="355"/>
                </a:cubicBezTo>
                <a:cubicBezTo>
                  <a:pt x="195" y="355"/>
                  <a:pt x="199" y="355"/>
                  <a:pt x="202" y="354"/>
                </a:cubicBezTo>
                <a:cubicBezTo>
                  <a:pt x="211" y="351"/>
                  <a:pt x="219" y="345"/>
                  <a:pt x="223" y="336"/>
                </a:cubicBezTo>
                <a:cubicBezTo>
                  <a:pt x="228" y="328"/>
                  <a:pt x="228" y="318"/>
                  <a:pt x="226" y="30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2" name="Freeform 566">
            <a:extLst>
              <a:ext uri="{FF2B5EF4-FFF2-40B4-BE49-F238E27FC236}">
                <a16:creationId xmlns:a16="http://schemas.microsoft.com/office/drawing/2014/main" id="{F707F667-10E7-8A8D-5C25-CA2EDFDAE7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54024" y="4214778"/>
            <a:ext cx="518737" cy="518737"/>
          </a:xfrm>
          <a:custGeom>
            <a:avLst/>
            <a:gdLst>
              <a:gd name="T0" fmla="*/ 364 w 512"/>
              <a:gd name="T1" fmla="*/ 138 h 512"/>
              <a:gd name="T2" fmla="*/ 393 w 512"/>
              <a:gd name="T3" fmla="*/ 352 h 512"/>
              <a:gd name="T4" fmla="*/ 310 w 512"/>
              <a:gd name="T5" fmla="*/ 352 h 512"/>
              <a:gd name="T6" fmla="*/ 329 w 512"/>
              <a:gd name="T7" fmla="*/ 138 h 512"/>
              <a:gd name="T8" fmla="*/ 364 w 512"/>
              <a:gd name="T9" fmla="*/ 138 h 512"/>
              <a:gd name="T10" fmla="*/ 213 w 512"/>
              <a:gd name="T11" fmla="*/ 233 h 512"/>
              <a:gd name="T12" fmla="*/ 213 w 512"/>
              <a:gd name="T13" fmla="*/ 352 h 512"/>
              <a:gd name="T14" fmla="*/ 289 w 512"/>
              <a:gd name="T15" fmla="*/ 352 h 512"/>
              <a:gd name="T16" fmla="*/ 294 w 512"/>
              <a:gd name="T17" fmla="*/ 287 h 512"/>
              <a:gd name="T18" fmla="*/ 292 w 512"/>
              <a:gd name="T19" fmla="*/ 286 h 512"/>
              <a:gd name="T20" fmla="*/ 213 w 512"/>
              <a:gd name="T21" fmla="*/ 233 h 512"/>
              <a:gd name="T22" fmla="*/ 117 w 512"/>
              <a:gd name="T23" fmla="*/ 352 h 512"/>
              <a:gd name="T24" fmla="*/ 192 w 512"/>
              <a:gd name="T25" fmla="*/ 352 h 512"/>
              <a:gd name="T26" fmla="*/ 192 w 512"/>
              <a:gd name="T27" fmla="*/ 283 h 512"/>
              <a:gd name="T28" fmla="*/ 117 w 512"/>
              <a:gd name="T29" fmla="*/ 233 h 512"/>
              <a:gd name="T30" fmla="*/ 117 w 512"/>
              <a:gd name="T31" fmla="*/ 352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416 w 512"/>
              <a:gd name="T43" fmla="*/ 361 h 512"/>
              <a:gd name="T44" fmla="*/ 384 w 512"/>
              <a:gd name="T45" fmla="*/ 126 h 512"/>
              <a:gd name="T46" fmla="*/ 373 w 512"/>
              <a:gd name="T47" fmla="*/ 117 h 512"/>
              <a:gd name="T48" fmla="*/ 320 w 512"/>
              <a:gd name="T49" fmla="*/ 117 h 512"/>
              <a:gd name="T50" fmla="*/ 309 w 512"/>
              <a:gd name="T51" fmla="*/ 127 h 512"/>
              <a:gd name="T52" fmla="*/ 297 w 512"/>
              <a:gd name="T53" fmla="*/ 263 h 512"/>
              <a:gd name="T54" fmla="*/ 208 w 512"/>
              <a:gd name="T55" fmla="*/ 204 h 512"/>
              <a:gd name="T56" fmla="*/ 197 w 512"/>
              <a:gd name="T57" fmla="*/ 204 h 512"/>
              <a:gd name="T58" fmla="*/ 192 w 512"/>
              <a:gd name="T59" fmla="*/ 213 h 512"/>
              <a:gd name="T60" fmla="*/ 192 w 512"/>
              <a:gd name="T61" fmla="*/ 257 h 512"/>
              <a:gd name="T62" fmla="*/ 112 w 512"/>
              <a:gd name="T63" fmla="*/ 204 h 512"/>
              <a:gd name="T64" fmla="*/ 101 w 512"/>
              <a:gd name="T65" fmla="*/ 204 h 512"/>
              <a:gd name="T66" fmla="*/ 96 w 512"/>
              <a:gd name="T67" fmla="*/ 213 h 512"/>
              <a:gd name="T68" fmla="*/ 96 w 512"/>
              <a:gd name="T69" fmla="*/ 362 h 512"/>
              <a:gd name="T70" fmla="*/ 106 w 512"/>
              <a:gd name="T71" fmla="*/ 373 h 512"/>
              <a:gd name="T72" fmla="*/ 405 w 512"/>
              <a:gd name="T73" fmla="*/ 373 h 512"/>
              <a:gd name="T74" fmla="*/ 413 w 512"/>
              <a:gd name="T75" fmla="*/ 369 h 512"/>
              <a:gd name="T76" fmla="*/ 416 w 512"/>
              <a:gd name="T77" fmla="*/ 3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364" y="138"/>
                </a:moveTo>
                <a:cubicBezTo>
                  <a:pt x="393" y="352"/>
                  <a:pt x="393" y="352"/>
                  <a:pt x="393" y="352"/>
                </a:cubicBezTo>
                <a:cubicBezTo>
                  <a:pt x="310" y="352"/>
                  <a:pt x="310" y="352"/>
                  <a:pt x="310" y="352"/>
                </a:cubicBezTo>
                <a:cubicBezTo>
                  <a:pt x="329" y="138"/>
                  <a:pt x="329" y="138"/>
                  <a:pt x="329" y="138"/>
                </a:cubicBezTo>
                <a:lnTo>
                  <a:pt x="364" y="138"/>
                </a:lnTo>
                <a:close/>
                <a:moveTo>
                  <a:pt x="213" y="233"/>
                </a:moveTo>
                <a:cubicBezTo>
                  <a:pt x="213" y="352"/>
                  <a:pt x="213" y="352"/>
                  <a:pt x="213" y="352"/>
                </a:cubicBezTo>
                <a:cubicBezTo>
                  <a:pt x="289" y="352"/>
                  <a:pt x="289" y="352"/>
                  <a:pt x="289" y="352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6"/>
                  <a:pt x="293" y="286"/>
                  <a:pt x="292" y="286"/>
                </a:cubicBezTo>
                <a:lnTo>
                  <a:pt x="213" y="233"/>
                </a:lnTo>
                <a:close/>
                <a:moveTo>
                  <a:pt x="117" y="352"/>
                </a:moveTo>
                <a:cubicBezTo>
                  <a:pt x="192" y="352"/>
                  <a:pt x="192" y="352"/>
                  <a:pt x="192" y="352"/>
                </a:cubicBezTo>
                <a:cubicBezTo>
                  <a:pt x="192" y="283"/>
                  <a:pt x="192" y="283"/>
                  <a:pt x="192" y="283"/>
                </a:cubicBezTo>
                <a:cubicBezTo>
                  <a:pt x="117" y="233"/>
                  <a:pt x="117" y="233"/>
                  <a:pt x="117" y="233"/>
                </a:cubicBezTo>
                <a:lnTo>
                  <a:pt x="117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361"/>
                </a:moveTo>
                <a:cubicBezTo>
                  <a:pt x="384" y="126"/>
                  <a:pt x="384" y="126"/>
                  <a:pt x="384" y="126"/>
                </a:cubicBezTo>
                <a:cubicBezTo>
                  <a:pt x="383" y="121"/>
                  <a:pt x="378" y="117"/>
                  <a:pt x="373" y="117"/>
                </a:cubicBezTo>
                <a:cubicBezTo>
                  <a:pt x="320" y="117"/>
                  <a:pt x="320" y="117"/>
                  <a:pt x="320" y="117"/>
                </a:cubicBezTo>
                <a:cubicBezTo>
                  <a:pt x="314" y="117"/>
                  <a:pt x="310" y="121"/>
                  <a:pt x="309" y="127"/>
                </a:cubicBezTo>
                <a:cubicBezTo>
                  <a:pt x="297" y="263"/>
                  <a:pt x="297" y="263"/>
                  <a:pt x="297" y="263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5" y="202"/>
                  <a:pt x="201" y="202"/>
                  <a:pt x="197" y="204"/>
                </a:cubicBezTo>
                <a:cubicBezTo>
                  <a:pt x="194" y="205"/>
                  <a:pt x="192" y="209"/>
                  <a:pt x="192" y="213"/>
                </a:cubicBezTo>
                <a:cubicBezTo>
                  <a:pt x="192" y="257"/>
                  <a:pt x="192" y="257"/>
                  <a:pt x="192" y="257"/>
                </a:cubicBezTo>
                <a:cubicBezTo>
                  <a:pt x="112" y="204"/>
                  <a:pt x="112" y="204"/>
                  <a:pt x="112" y="204"/>
                </a:cubicBezTo>
                <a:cubicBezTo>
                  <a:pt x="109" y="202"/>
                  <a:pt x="105" y="202"/>
                  <a:pt x="101" y="204"/>
                </a:cubicBezTo>
                <a:cubicBezTo>
                  <a:pt x="98" y="205"/>
                  <a:pt x="96" y="209"/>
                  <a:pt x="96" y="213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08" y="373"/>
                  <a:pt x="411" y="372"/>
                  <a:pt x="413" y="369"/>
                </a:cubicBezTo>
                <a:cubicBezTo>
                  <a:pt x="415" y="367"/>
                  <a:pt x="416" y="364"/>
                  <a:pt x="416" y="36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</p:spTree>
    <p:extLst>
      <p:ext uri="{BB962C8B-B14F-4D97-AF65-F5344CB8AC3E}">
        <p14:creationId xmlns:p14="http://schemas.microsoft.com/office/powerpoint/2010/main" val="424138270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GB"/>
              <a:t>Action/Adventure Movies Have the Best Profit Overa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Data Analysis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DCAA26-C10C-18A2-D058-E0F553354D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037254" y="1348473"/>
            <a:ext cx="9053195" cy="5072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933373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4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op Recommendations Based On Datasets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Recommendations</a:t>
            </a:r>
            <a:endParaRPr lang="en-US"/>
          </a:p>
        </p:txBody>
      </p:sp>
      <p:sp>
        <p:nvSpPr>
          <p:cNvPr id="49" name="Right Arrow 48"/>
          <p:cNvSpPr/>
          <p:nvPr/>
        </p:nvSpPr>
        <p:spPr>
          <a:xfrm>
            <a:off x="605777" y="1381356"/>
            <a:ext cx="10462027" cy="1760220"/>
          </a:xfrm>
          <a:prstGeom prst="rightArrow">
            <a:avLst>
              <a:gd name="adj1" fmla="val 66450"/>
              <a:gd name="adj2" fmla="val 50000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ight Arrow 49"/>
          <p:cNvSpPr/>
          <p:nvPr/>
        </p:nvSpPr>
        <p:spPr>
          <a:xfrm>
            <a:off x="615910" y="2920596"/>
            <a:ext cx="9295051" cy="1760220"/>
          </a:xfrm>
          <a:prstGeom prst="rightArrow">
            <a:avLst>
              <a:gd name="adj1" fmla="val 66450"/>
              <a:gd name="adj2" fmla="val 50000"/>
            </a:avLst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Right Arrow 50"/>
          <p:cNvSpPr/>
          <p:nvPr/>
        </p:nvSpPr>
        <p:spPr>
          <a:xfrm>
            <a:off x="593292" y="4436976"/>
            <a:ext cx="10684308" cy="1760220"/>
          </a:xfrm>
          <a:prstGeom prst="rightArrow">
            <a:avLst>
              <a:gd name="adj1" fmla="val 66450"/>
              <a:gd name="adj2" fmla="val 50000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Flowchart: Data 9"/>
          <p:cNvSpPr/>
          <p:nvPr/>
        </p:nvSpPr>
        <p:spPr>
          <a:xfrm>
            <a:off x="1790344" y="1478194"/>
            <a:ext cx="1988820" cy="471360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3050"/>
              <a:gd name="connsiteY0" fmla="*/ 10000 h 10000"/>
              <a:gd name="connsiteX1" fmla="*/ 2000 w 13050"/>
              <a:gd name="connsiteY1" fmla="*/ 0 h 10000"/>
              <a:gd name="connsiteX2" fmla="*/ 13050 w 13050"/>
              <a:gd name="connsiteY2" fmla="*/ 0 h 10000"/>
              <a:gd name="connsiteX3" fmla="*/ 8000 w 13050"/>
              <a:gd name="connsiteY3" fmla="*/ 10000 h 10000"/>
              <a:gd name="connsiteX4" fmla="*/ 0 w 13050"/>
              <a:gd name="connsiteY4" fmla="*/ 10000 h 10000"/>
              <a:gd name="connsiteX0" fmla="*/ 0 w 13050"/>
              <a:gd name="connsiteY0" fmla="*/ 10000 h 10000"/>
              <a:gd name="connsiteX1" fmla="*/ 5300 w 13050"/>
              <a:gd name="connsiteY1" fmla="*/ 0 h 10000"/>
              <a:gd name="connsiteX2" fmla="*/ 13050 w 13050"/>
              <a:gd name="connsiteY2" fmla="*/ 0 h 10000"/>
              <a:gd name="connsiteX3" fmla="*/ 8000 w 13050"/>
              <a:gd name="connsiteY3" fmla="*/ 10000 h 10000"/>
              <a:gd name="connsiteX4" fmla="*/ 0 w 1305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50" h="10000">
                <a:moveTo>
                  <a:pt x="0" y="10000"/>
                </a:moveTo>
                <a:lnTo>
                  <a:pt x="5300" y="0"/>
                </a:lnTo>
                <a:lnTo>
                  <a:pt x="13050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solidFill>
            <a:schemeClr val="bg1">
              <a:alpha val="74902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Half Frame 53"/>
          <p:cNvSpPr/>
          <p:nvPr/>
        </p:nvSpPr>
        <p:spPr>
          <a:xfrm rot="8142470">
            <a:off x="3192911" y="1977025"/>
            <a:ext cx="281314" cy="288147"/>
          </a:xfrm>
          <a:prstGeom prst="halfFrame">
            <a:avLst>
              <a:gd name="adj1" fmla="val 26576"/>
              <a:gd name="adj2" fmla="val 25856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577061" y="1645913"/>
            <a:ext cx="756507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79" name="Half Frame 78"/>
          <p:cNvSpPr/>
          <p:nvPr/>
        </p:nvSpPr>
        <p:spPr>
          <a:xfrm rot="8142470">
            <a:off x="2991621" y="3532443"/>
            <a:ext cx="281314" cy="288147"/>
          </a:xfrm>
          <a:prstGeom prst="halfFrame">
            <a:avLst>
              <a:gd name="adj1" fmla="val 26576"/>
              <a:gd name="adj2" fmla="val 25856"/>
            </a:avLst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D0D0C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360781" y="3185153"/>
            <a:ext cx="756507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1" name="Half Frame 80"/>
          <p:cNvSpPr/>
          <p:nvPr/>
        </p:nvSpPr>
        <p:spPr>
          <a:xfrm rot="8142470">
            <a:off x="2677920" y="5007627"/>
            <a:ext cx="281314" cy="288147"/>
          </a:xfrm>
          <a:prstGeom prst="halfFrame">
            <a:avLst>
              <a:gd name="adj1" fmla="val 26576"/>
              <a:gd name="adj2" fmla="val 25856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D0D0C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102542" y="4701533"/>
            <a:ext cx="756507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83" name="Rectangle 82"/>
          <p:cNvSpPr/>
          <p:nvPr/>
        </p:nvSpPr>
        <p:spPr>
          <a:xfrm>
            <a:off x="4338862" y="1996584"/>
            <a:ext cx="6062794" cy="4616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prstClr val="white"/>
                </a:solidFill>
                <a:latin typeface="Calibri"/>
              </a:rPr>
              <a:t>Horror Film Typ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white"/>
                </a:solidFill>
                <a:latin typeface="Calibri"/>
              </a:rPr>
              <a:t>Greatest Return on Production Budget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932478" y="3536903"/>
            <a:ext cx="5096763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on/Adventure Film Ty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all Best Profit</a:t>
            </a:r>
          </a:p>
        </p:txBody>
      </p:sp>
      <p:sp>
        <p:nvSpPr>
          <p:cNvPr id="85" name="Rectangle 84"/>
          <p:cNvSpPr/>
          <p:nvPr/>
        </p:nvSpPr>
        <p:spPr>
          <a:xfrm>
            <a:off x="3449462" y="5063135"/>
            <a:ext cx="6062794" cy="4616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Calibri"/>
              </a:rPr>
              <a:t>Keeping Production Budget between $150M – $169M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bg1"/>
                </a:solidFill>
                <a:latin typeface="Calibri"/>
              </a:rPr>
              <a:t>Optimal range for production of top profiting films</a:t>
            </a:r>
            <a:endParaRPr lang="en-US" sz="1400">
              <a:solidFill>
                <a:schemeClr val="bg1"/>
              </a:solidFill>
              <a:latin typeface="Calibri"/>
              <a:cs typeface="Calibri"/>
            </a:endParaRPr>
          </a:p>
        </p:txBody>
      </p:sp>
      <p:grpSp>
        <p:nvGrpSpPr>
          <p:cNvPr id="111" name="Group 517"/>
          <p:cNvGrpSpPr>
            <a:grpSpLocks noChangeAspect="1"/>
          </p:cNvGrpSpPr>
          <p:nvPr/>
        </p:nvGrpSpPr>
        <p:grpSpPr bwMode="auto">
          <a:xfrm>
            <a:off x="802950" y="1859280"/>
            <a:ext cx="824502" cy="824503"/>
            <a:chOff x="4034" y="2248"/>
            <a:chExt cx="340" cy="340"/>
          </a:xfrm>
          <a:solidFill>
            <a:schemeClr val="bg1"/>
          </a:solidFill>
        </p:grpSpPr>
        <p:sp>
          <p:nvSpPr>
            <p:cNvPr id="112" name="Freeform 518"/>
            <p:cNvSpPr>
              <a:spLocks noEditPoints="1"/>
            </p:cNvSpPr>
            <p:nvPr/>
          </p:nvSpPr>
          <p:spPr bwMode="auto">
            <a:xfrm>
              <a:off x="4098" y="2312"/>
              <a:ext cx="212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40 w 320"/>
                <a:gd name="T41" fmla="*/ 95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5"/>
                    <a:pt x="240" y="95"/>
                    <a:pt x="240" y="95"/>
                  </a:cubicBezTo>
                  <a:cubicBezTo>
                    <a:pt x="239" y="98"/>
                    <a:pt x="237" y="105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8" y="108"/>
                    <a:pt x="259" y="107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519"/>
            <p:cNvSpPr>
              <a:spLocks/>
            </p:cNvSpPr>
            <p:nvPr/>
          </p:nvSpPr>
          <p:spPr bwMode="auto">
            <a:xfrm>
              <a:off x="4132" y="2495"/>
              <a:ext cx="20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520"/>
            <p:cNvSpPr>
              <a:spLocks/>
            </p:cNvSpPr>
            <p:nvPr/>
          </p:nvSpPr>
          <p:spPr bwMode="auto">
            <a:xfrm>
              <a:off x="4143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521"/>
            <p:cNvSpPr>
              <a:spLocks/>
            </p:cNvSpPr>
            <p:nvPr/>
          </p:nvSpPr>
          <p:spPr bwMode="auto">
            <a:xfrm>
              <a:off x="4182" y="2495"/>
              <a:ext cx="19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522"/>
            <p:cNvSpPr>
              <a:spLocks/>
            </p:cNvSpPr>
            <p:nvPr/>
          </p:nvSpPr>
          <p:spPr bwMode="auto">
            <a:xfrm>
              <a:off x="4193" y="2453"/>
              <a:ext cx="18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523"/>
            <p:cNvSpPr>
              <a:spLocks/>
            </p:cNvSpPr>
            <p:nvPr/>
          </p:nvSpPr>
          <p:spPr bwMode="auto">
            <a:xfrm>
              <a:off x="4231" y="2495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524"/>
            <p:cNvSpPr>
              <a:spLocks/>
            </p:cNvSpPr>
            <p:nvPr/>
          </p:nvSpPr>
          <p:spPr bwMode="auto">
            <a:xfrm>
              <a:off x="4242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525"/>
            <p:cNvSpPr>
              <a:spLocks noEditPoints="1"/>
            </p:cNvSpPr>
            <p:nvPr/>
          </p:nvSpPr>
          <p:spPr bwMode="auto">
            <a:xfrm>
              <a:off x="4034" y="2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0" name="Group 1000"/>
          <p:cNvGrpSpPr>
            <a:grpSpLocks noChangeAspect="1"/>
          </p:cNvGrpSpPr>
          <p:nvPr/>
        </p:nvGrpSpPr>
        <p:grpSpPr bwMode="auto">
          <a:xfrm>
            <a:off x="819917" y="3365595"/>
            <a:ext cx="826615" cy="826615"/>
            <a:chOff x="5030" y="4091"/>
            <a:chExt cx="340" cy="340"/>
          </a:xfrm>
          <a:solidFill>
            <a:schemeClr val="bg1"/>
          </a:solidFill>
        </p:grpSpPr>
        <p:sp>
          <p:nvSpPr>
            <p:cNvPr id="121" name="Freeform 1001"/>
            <p:cNvSpPr>
              <a:spLocks noEditPoints="1"/>
            </p:cNvSpPr>
            <p:nvPr/>
          </p:nvSpPr>
          <p:spPr bwMode="auto">
            <a:xfrm>
              <a:off x="5094" y="4183"/>
              <a:ext cx="212" cy="127"/>
            </a:xfrm>
            <a:custGeom>
              <a:avLst/>
              <a:gdLst>
                <a:gd name="T0" fmla="*/ 269 w 320"/>
                <a:gd name="T1" fmla="*/ 192 h 192"/>
                <a:gd name="T2" fmla="*/ 71 w 320"/>
                <a:gd name="T3" fmla="*/ 192 h 192"/>
                <a:gd name="T4" fmla="*/ 0 w 320"/>
                <a:gd name="T5" fmla="*/ 121 h 192"/>
                <a:gd name="T6" fmla="*/ 71 w 320"/>
                <a:gd name="T7" fmla="*/ 51 h 192"/>
                <a:gd name="T8" fmla="*/ 96 w 320"/>
                <a:gd name="T9" fmla="*/ 56 h 192"/>
                <a:gd name="T10" fmla="*/ 181 w 320"/>
                <a:gd name="T11" fmla="*/ 0 h 192"/>
                <a:gd name="T12" fmla="*/ 273 w 320"/>
                <a:gd name="T13" fmla="*/ 91 h 192"/>
                <a:gd name="T14" fmla="*/ 320 w 320"/>
                <a:gd name="T15" fmla="*/ 142 h 192"/>
                <a:gd name="T16" fmla="*/ 269 w 320"/>
                <a:gd name="T17" fmla="*/ 192 h 192"/>
                <a:gd name="T18" fmla="*/ 71 w 320"/>
                <a:gd name="T19" fmla="*/ 72 h 192"/>
                <a:gd name="T20" fmla="*/ 21 w 320"/>
                <a:gd name="T21" fmla="*/ 121 h 192"/>
                <a:gd name="T22" fmla="*/ 71 w 320"/>
                <a:gd name="T23" fmla="*/ 171 h 192"/>
                <a:gd name="T24" fmla="*/ 269 w 320"/>
                <a:gd name="T25" fmla="*/ 171 h 192"/>
                <a:gd name="T26" fmla="*/ 298 w 320"/>
                <a:gd name="T27" fmla="*/ 142 h 192"/>
                <a:gd name="T28" fmla="*/ 269 w 320"/>
                <a:gd name="T29" fmla="*/ 112 h 192"/>
                <a:gd name="T30" fmla="*/ 267 w 320"/>
                <a:gd name="T31" fmla="*/ 112 h 192"/>
                <a:gd name="T32" fmla="*/ 265 w 320"/>
                <a:gd name="T33" fmla="*/ 113 h 192"/>
                <a:gd name="T34" fmla="*/ 254 w 320"/>
                <a:gd name="T35" fmla="*/ 111 h 192"/>
                <a:gd name="T36" fmla="*/ 251 w 320"/>
                <a:gd name="T37" fmla="*/ 101 h 192"/>
                <a:gd name="T38" fmla="*/ 251 w 320"/>
                <a:gd name="T39" fmla="*/ 96 h 192"/>
                <a:gd name="T40" fmla="*/ 251 w 320"/>
                <a:gd name="T41" fmla="*/ 92 h 192"/>
                <a:gd name="T42" fmla="*/ 181 w 320"/>
                <a:gd name="T43" fmla="*/ 22 h 192"/>
                <a:gd name="T44" fmla="*/ 114 w 320"/>
                <a:gd name="T45" fmla="*/ 68 h 192"/>
                <a:gd name="T46" fmla="*/ 112 w 320"/>
                <a:gd name="T47" fmla="*/ 73 h 192"/>
                <a:gd name="T48" fmla="*/ 112 w 320"/>
                <a:gd name="T49" fmla="*/ 75 h 192"/>
                <a:gd name="T50" fmla="*/ 103 w 320"/>
                <a:gd name="T51" fmla="*/ 83 h 192"/>
                <a:gd name="T52" fmla="*/ 93 w 320"/>
                <a:gd name="T53" fmla="*/ 79 h 192"/>
                <a:gd name="T54" fmla="*/ 71 w 320"/>
                <a:gd name="T55" fmla="*/ 7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0" h="192">
                  <a:moveTo>
                    <a:pt x="269" y="192"/>
                  </a:moveTo>
                  <a:cubicBezTo>
                    <a:pt x="71" y="192"/>
                    <a:pt x="71" y="192"/>
                    <a:pt x="71" y="192"/>
                  </a:cubicBezTo>
                  <a:cubicBezTo>
                    <a:pt x="31" y="192"/>
                    <a:pt x="0" y="161"/>
                    <a:pt x="0" y="121"/>
                  </a:cubicBezTo>
                  <a:cubicBezTo>
                    <a:pt x="0" y="82"/>
                    <a:pt x="31" y="51"/>
                    <a:pt x="71" y="51"/>
                  </a:cubicBezTo>
                  <a:cubicBezTo>
                    <a:pt x="80" y="51"/>
                    <a:pt x="88" y="52"/>
                    <a:pt x="96" y="56"/>
                  </a:cubicBezTo>
                  <a:cubicBezTo>
                    <a:pt x="110" y="23"/>
                    <a:pt x="144" y="0"/>
                    <a:pt x="181" y="0"/>
                  </a:cubicBezTo>
                  <a:cubicBezTo>
                    <a:pt x="231" y="0"/>
                    <a:pt x="272" y="41"/>
                    <a:pt x="273" y="91"/>
                  </a:cubicBezTo>
                  <a:cubicBezTo>
                    <a:pt x="299" y="93"/>
                    <a:pt x="320" y="115"/>
                    <a:pt x="320" y="142"/>
                  </a:cubicBezTo>
                  <a:cubicBezTo>
                    <a:pt x="320" y="170"/>
                    <a:pt x="297" y="192"/>
                    <a:pt x="269" y="192"/>
                  </a:cubicBezTo>
                  <a:close/>
                  <a:moveTo>
                    <a:pt x="71" y="72"/>
                  </a:moveTo>
                  <a:cubicBezTo>
                    <a:pt x="43" y="72"/>
                    <a:pt x="21" y="94"/>
                    <a:pt x="21" y="121"/>
                  </a:cubicBezTo>
                  <a:cubicBezTo>
                    <a:pt x="21" y="149"/>
                    <a:pt x="43" y="171"/>
                    <a:pt x="71" y="171"/>
                  </a:cubicBezTo>
                  <a:cubicBezTo>
                    <a:pt x="269" y="171"/>
                    <a:pt x="269" y="171"/>
                    <a:pt x="269" y="171"/>
                  </a:cubicBezTo>
                  <a:cubicBezTo>
                    <a:pt x="285" y="171"/>
                    <a:pt x="298" y="158"/>
                    <a:pt x="298" y="142"/>
                  </a:cubicBezTo>
                  <a:cubicBezTo>
                    <a:pt x="298" y="125"/>
                    <a:pt x="285" y="112"/>
                    <a:pt x="269" y="112"/>
                  </a:cubicBezTo>
                  <a:cubicBezTo>
                    <a:pt x="268" y="112"/>
                    <a:pt x="268" y="112"/>
                    <a:pt x="267" y="112"/>
                  </a:cubicBezTo>
                  <a:cubicBezTo>
                    <a:pt x="267" y="112"/>
                    <a:pt x="266" y="112"/>
                    <a:pt x="265" y="113"/>
                  </a:cubicBezTo>
                  <a:cubicBezTo>
                    <a:pt x="261" y="114"/>
                    <a:pt x="257" y="113"/>
                    <a:pt x="254" y="111"/>
                  </a:cubicBezTo>
                  <a:cubicBezTo>
                    <a:pt x="252" y="109"/>
                    <a:pt x="250" y="105"/>
                    <a:pt x="251" y="101"/>
                  </a:cubicBezTo>
                  <a:cubicBezTo>
                    <a:pt x="251" y="99"/>
                    <a:pt x="251" y="98"/>
                    <a:pt x="251" y="96"/>
                  </a:cubicBezTo>
                  <a:cubicBezTo>
                    <a:pt x="251" y="94"/>
                    <a:pt x="251" y="93"/>
                    <a:pt x="251" y="92"/>
                  </a:cubicBezTo>
                  <a:cubicBezTo>
                    <a:pt x="251" y="53"/>
                    <a:pt x="220" y="22"/>
                    <a:pt x="181" y="22"/>
                  </a:cubicBezTo>
                  <a:cubicBezTo>
                    <a:pt x="152" y="22"/>
                    <a:pt x="124" y="41"/>
                    <a:pt x="114" y="68"/>
                  </a:cubicBezTo>
                  <a:cubicBezTo>
                    <a:pt x="113" y="70"/>
                    <a:pt x="113" y="71"/>
                    <a:pt x="112" y="73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1" y="79"/>
                    <a:pt x="108" y="82"/>
                    <a:pt x="103" y="83"/>
                  </a:cubicBezTo>
                  <a:cubicBezTo>
                    <a:pt x="99" y="84"/>
                    <a:pt x="95" y="82"/>
                    <a:pt x="93" y="79"/>
                  </a:cubicBezTo>
                  <a:cubicBezTo>
                    <a:pt x="86" y="74"/>
                    <a:pt x="79" y="72"/>
                    <a:pt x="7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Freeform 1002"/>
            <p:cNvSpPr>
              <a:spLocks noEditPoints="1"/>
            </p:cNvSpPr>
            <p:nvPr/>
          </p:nvSpPr>
          <p:spPr bwMode="auto">
            <a:xfrm>
              <a:off x="5030" y="409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3" name="Group 568"/>
          <p:cNvGrpSpPr>
            <a:grpSpLocks noChangeAspect="1"/>
          </p:cNvGrpSpPr>
          <p:nvPr/>
        </p:nvGrpSpPr>
        <p:grpSpPr bwMode="auto">
          <a:xfrm>
            <a:off x="775957" y="4904835"/>
            <a:ext cx="909378" cy="824502"/>
            <a:chOff x="6616" y="2941"/>
            <a:chExt cx="375" cy="340"/>
          </a:xfrm>
          <a:solidFill>
            <a:schemeClr val="bg1"/>
          </a:solidFill>
        </p:grpSpPr>
        <p:sp>
          <p:nvSpPr>
            <p:cNvPr id="124" name="Freeform 123"/>
            <p:cNvSpPr>
              <a:spLocks noEditPoints="1"/>
            </p:cNvSpPr>
            <p:nvPr/>
          </p:nvSpPr>
          <p:spPr bwMode="auto">
            <a:xfrm>
              <a:off x="6616" y="2941"/>
              <a:ext cx="375" cy="340"/>
            </a:xfrm>
            <a:custGeom>
              <a:avLst/>
              <a:gdLst>
                <a:gd name="T0" fmla="*/ 281 w 562"/>
                <a:gd name="T1" fmla="*/ 21 h 512"/>
                <a:gd name="T2" fmla="*/ 447 w 562"/>
                <a:gd name="T3" fmla="*/ 90 h 512"/>
                <a:gd name="T4" fmla="*/ 447 w 562"/>
                <a:gd name="T5" fmla="*/ 422 h 512"/>
                <a:gd name="T6" fmla="*/ 281 w 562"/>
                <a:gd name="T7" fmla="*/ 490 h 512"/>
                <a:gd name="T8" fmla="*/ 115 w 562"/>
                <a:gd name="T9" fmla="*/ 422 h 512"/>
                <a:gd name="T10" fmla="*/ 115 w 562"/>
                <a:gd name="T11" fmla="*/ 90 h 512"/>
                <a:gd name="T12" fmla="*/ 281 w 562"/>
                <a:gd name="T13" fmla="*/ 21 h 512"/>
                <a:gd name="T14" fmla="*/ 281 w 562"/>
                <a:gd name="T15" fmla="*/ 0 h 512"/>
                <a:gd name="T16" fmla="*/ 100 w 562"/>
                <a:gd name="T17" fmla="*/ 75 h 512"/>
                <a:gd name="T18" fmla="*/ 100 w 562"/>
                <a:gd name="T19" fmla="*/ 437 h 512"/>
                <a:gd name="T20" fmla="*/ 281 w 562"/>
                <a:gd name="T21" fmla="*/ 512 h 512"/>
                <a:gd name="T22" fmla="*/ 462 w 562"/>
                <a:gd name="T23" fmla="*/ 437 h 512"/>
                <a:gd name="T24" fmla="*/ 462 w 562"/>
                <a:gd name="T25" fmla="*/ 75 h 512"/>
                <a:gd name="T26" fmla="*/ 281 w 56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2" h="512">
                  <a:moveTo>
                    <a:pt x="281" y="21"/>
                  </a:moveTo>
                  <a:cubicBezTo>
                    <a:pt x="343" y="21"/>
                    <a:pt x="402" y="45"/>
                    <a:pt x="447" y="90"/>
                  </a:cubicBezTo>
                  <a:cubicBezTo>
                    <a:pt x="538" y="181"/>
                    <a:pt x="538" y="330"/>
                    <a:pt x="447" y="422"/>
                  </a:cubicBezTo>
                  <a:cubicBezTo>
                    <a:pt x="402" y="466"/>
                    <a:pt x="343" y="490"/>
                    <a:pt x="281" y="490"/>
                  </a:cubicBezTo>
                  <a:cubicBezTo>
                    <a:pt x="218" y="490"/>
                    <a:pt x="159" y="466"/>
                    <a:pt x="115" y="422"/>
                  </a:cubicBezTo>
                  <a:cubicBezTo>
                    <a:pt x="23" y="330"/>
                    <a:pt x="23" y="181"/>
                    <a:pt x="115" y="90"/>
                  </a:cubicBezTo>
                  <a:cubicBezTo>
                    <a:pt x="159" y="45"/>
                    <a:pt x="218" y="21"/>
                    <a:pt x="281" y="21"/>
                  </a:cubicBezTo>
                  <a:moveTo>
                    <a:pt x="281" y="0"/>
                  </a:moveTo>
                  <a:cubicBezTo>
                    <a:pt x="215" y="0"/>
                    <a:pt x="150" y="25"/>
                    <a:pt x="100" y="75"/>
                  </a:cubicBezTo>
                  <a:cubicBezTo>
                    <a:pt x="0" y="175"/>
                    <a:pt x="0" y="337"/>
                    <a:pt x="100" y="437"/>
                  </a:cubicBezTo>
                  <a:cubicBezTo>
                    <a:pt x="150" y="487"/>
                    <a:pt x="215" y="512"/>
                    <a:pt x="281" y="512"/>
                  </a:cubicBezTo>
                  <a:cubicBezTo>
                    <a:pt x="346" y="512"/>
                    <a:pt x="412" y="487"/>
                    <a:pt x="462" y="437"/>
                  </a:cubicBezTo>
                  <a:cubicBezTo>
                    <a:pt x="562" y="337"/>
                    <a:pt x="562" y="175"/>
                    <a:pt x="462" y="75"/>
                  </a:cubicBezTo>
                  <a:cubicBezTo>
                    <a:pt x="412" y="25"/>
                    <a:pt x="34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Freeform 124"/>
            <p:cNvSpPr>
              <a:spLocks noEditPoints="1"/>
            </p:cNvSpPr>
            <p:nvPr/>
          </p:nvSpPr>
          <p:spPr bwMode="auto">
            <a:xfrm>
              <a:off x="6697" y="3005"/>
              <a:ext cx="213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39 w 320"/>
                <a:gd name="T41" fmla="*/ 99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6"/>
                    <a:pt x="240" y="97"/>
                    <a:pt x="239" y="99"/>
                  </a:cubicBezTo>
                  <a:cubicBezTo>
                    <a:pt x="238" y="103"/>
                    <a:pt x="240" y="108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7" y="108"/>
                    <a:pt x="258" y="108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125"/>
            <p:cNvSpPr>
              <a:spLocks/>
            </p:cNvSpPr>
            <p:nvPr/>
          </p:nvSpPr>
          <p:spPr bwMode="auto">
            <a:xfrm>
              <a:off x="6782" y="3146"/>
              <a:ext cx="36" cy="71"/>
            </a:xfrm>
            <a:custGeom>
              <a:avLst/>
              <a:gdLst>
                <a:gd name="T0" fmla="*/ 43 w 55"/>
                <a:gd name="T1" fmla="*/ 44 h 108"/>
                <a:gd name="T2" fmla="*/ 29 w 55"/>
                <a:gd name="T3" fmla="*/ 44 h 108"/>
                <a:gd name="T4" fmla="*/ 42 w 55"/>
                <a:gd name="T5" fmla="*/ 16 h 108"/>
                <a:gd name="T6" fmla="*/ 37 w 55"/>
                <a:gd name="T7" fmla="*/ 2 h 108"/>
                <a:gd name="T8" fmla="*/ 23 w 55"/>
                <a:gd name="T9" fmla="*/ 7 h 108"/>
                <a:gd name="T10" fmla="*/ 2 w 55"/>
                <a:gd name="T11" fmla="*/ 50 h 108"/>
                <a:gd name="T12" fmla="*/ 2 w 55"/>
                <a:gd name="T13" fmla="*/ 60 h 108"/>
                <a:gd name="T14" fmla="*/ 11 w 55"/>
                <a:gd name="T15" fmla="*/ 65 h 108"/>
                <a:gd name="T16" fmla="*/ 26 w 55"/>
                <a:gd name="T17" fmla="*/ 65 h 108"/>
                <a:gd name="T18" fmla="*/ 12 w 55"/>
                <a:gd name="T19" fmla="*/ 92 h 108"/>
                <a:gd name="T20" fmla="*/ 17 w 55"/>
                <a:gd name="T21" fmla="*/ 107 h 108"/>
                <a:gd name="T22" fmla="*/ 22 w 55"/>
                <a:gd name="T23" fmla="*/ 108 h 108"/>
                <a:gd name="T24" fmla="*/ 32 w 55"/>
                <a:gd name="T25" fmla="*/ 102 h 108"/>
                <a:gd name="T26" fmla="*/ 53 w 55"/>
                <a:gd name="T27" fmla="*/ 59 h 108"/>
                <a:gd name="T28" fmla="*/ 52 w 55"/>
                <a:gd name="T29" fmla="*/ 49 h 108"/>
                <a:gd name="T30" fmla="*/ 43 w 55"/>
                <a:gd name="T31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108">
                  <a:moveTo>
                    <a:pt x="43" y="44"/>
                  </a:moveTo>
                  <a:cubicBezTo>
                    <a:pt x="29" y="44"/>
                    <a:pt x="29" y="44"/>
                    <a:pt x="29" y="4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5" y="11"/>
                    <a:pt x="43" y="5"/>
                    <a:pt x="37" y="2"/>
                  </a:cubicBezTo>
                  <a:cubicBezTo>
                    <a:pt x="32" y="0"/>
                    <a:pt x="26" y="2"/>
                    <a:pt x="23" y="7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0" y="53"/>
                    <a:pt x="0" y="57"/>
                    <a:pt x="2" y="60"/>
                  </a:cubicBezTo>
                  <a:cubicBezTo>
                    <a:pt x="4" y="63"/>
                    <a:pt x="8" y="65"/>
                    <a:pt x="11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0" y="98"/>
                    <a:pt x="12" y="104"/>
                    <a:pt x="17" y="107"/>
                  </a:cubicBezTo>
                  <a:cubicBezTo>
                    <a:pt x="19" y="107"/>
                    <a:pt x="20" y="108"/>
                    <a:pt x="22" y="108"/>
                  </a:cubicBezTo>
                  <a:cubicBezTo>
                    <a:pt x="26" y="108"/>
                    <a:pt x="30" y="106"/>
                    <a:pt x="32" y="102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5" y="56"/>
                    <a:pt x="54" y="52"/>
                    <a:pt x="52" y="49"/>
                  </a:cubicBezTo>
                  <a:cubicBezTo>
                    <a:pt x="50" y="46"/>
                    <a:pt x="47" y="44"/>
                    <a:pt x="4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816183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5134" y="724459"/>
            <a:ext cx="11188700" cy="757255"/>
          </a:xfrm>
        </p:spPr>
        <p:txBody>
          <a:bodyPr/>
          <a:lstStyle/>
          <a:p>
            <a:r>
              <a:rPr lang="en-US"/>
              <a:t>Significance of machine failure in vehicles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>
          <a:xfrm>
            <a:off x="485134" y="438970"/>
            <a:ext cx="11188700" cy="334099"/>
          </a:xfrm>
        </p:spPr>
        <p:txBody>
          <a:bodyPr/>
          <a:lstStyle/>
          <a:p>
            <a:r>
              <a:rPr lang="en-US" altLang="ja-JP"/>
              <a:t>Data Understanding</a:t>
            </a:r>
            <a:endParaRPr lang="en-US"/>
          </a:p>
        </p:txBody>
      </p:sp>
      <p:graphicFrame>
        <p:nvGraphicFramePr>
          <p:cNvPr id="113" name="Chart 112"/>
          <p:cNvGraphicFramePr/>
          <p:nvPr/>
        </p:nvGraphicFramePr>
        <p:xfrm>
          <a:off x="4313167" y="2761620"/>
          <a:ext cx="3512024" cy="264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14" name="Group 113"/>
          <p:cNvGrpSpPr>
            <a:grpSpLocks noChangeAspect="1"/>
          </p:cNvGrpSpPr>
          <p:nvPr/>
        </p:nvGrpSpPr>
        <p:grpSpPr>
          <a:xfrm rot="18900000">
            <a:off x="5657699" y="2354061"/>
            <a:ext cx="822960" cy="822960"/>
            <a:chOff x="7606853" y="246063"/>
            <a:chExt cx="896937" cy="896937"/>
          </a:xfrm>
          <a:solidFill>
            <a:srgbClr val="DCDCDC"/>
          </a:solidFill>
        </p:grpSpPr>
        <p:sp>
          <p:nvSpPr>
            <p:cNvPr id="115" name="Teardrop 114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7647296" y="280457"/>
              <a:ext cx="822602" cy="822602"/>
            </a:xfrm>
            <a:prstGeom prst="ellipse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7" name="Teardrop 116"/>
          <p:cNvSpPr/>
          <p:nvPr/>
        </p:nvSpPr>
        <p:spPr>
          <a:xfrm rot="11700000">
            <a:off x="4571820" y="4320021"/>
            <a:ext cx="822960" cy="822960"/>
          </a:xfrm>
          <a:prstGeom prst="teardrop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Oval 117"/>
          <p:cNvSpPr/>
          <p:nvPr/>
        </p:nvSpPr>
        <p:spPr>
          <a:xfrm rot="11700000">
            <a:off x="4602364" y="4355803"/>
            <a:ext cx="754756" cy="754756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9" name="Group 118"/>
          <p:cNvGrpSpPr>
            <a:grpSpLocks noChangeAspect="1"/>
          </p:cNvGrpSpPr>
          <p:nvPr/>
        </p:nvGrpSpPr>
        <p:grpSpPr>
          <a:xfrm rot="4776862">
            <a:off x="6703548" y="4372413"/>
            <a:ext cx="822960" cy="822960"/>
            <a:chOff x="7606853" y="246063"/>
            <a:chExt cx="896937" cy="896937"/>
          </a:xfrm>
          <a:solidFill>
            <a:srgbClr val="72C7E7"/>
          </a:solidFill>
        </p:grpSpPr>
        <p:sp>
          <p:nvSpPr>
            <p:cNvPr id="120" name="Teardrop 119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Oval 120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2" name="Rounded Rectangle 121"/>
          <p:cNvSpPr/>
          <p:nvPr/>
        </p:nvSpPr>
        <p:spPr>
          <a:xfrm>
            <a:off x="4614530" y="1058557"/>
            <a:ext cx="3210661" cy="1169366"/>
          </a:xfrm>
          <a:prstGeom prst="roundRect">
            <a:avLst>
              <a:gd name="adj" fmla="val 10178"/>
            </a:avLst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prstClr val="white"/>
                </a:solidFill>
                <a:latin typeface="Calibri"/>
              </a:rPr>
              <a:t>Situ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chine parts failure resulting in catastrophic losses (Toyota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white"/>
                </a:solidFill>
                <a:latin typeface="Calibri"/>
              </a:rPr>
              <a:t>5 failure types and machine aspec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Rounded Rectangle 122"/>
          <p:cNvSpPr/>
          <p:nvPr/>
        </p:nvSpPr>
        <p:spPr>
          <a:xfrm>
            <a:off x="1266898" y="4461133"/>
            <a:ext cx="3210662" cy="1169366"/>
          </a:xfrm>
          <a:prstGeom prst="roundRect">
            <a:avLst>
              <a:gd name="adj" fmla="val 10178"/>
            </a:avLst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>
              <a:solidFill>
                <a:prstClr val="white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prstClr val="white"/>
                </a:solidFill>
                <a:latin typeface="Calibri"/>
              </a:rPr>
              <a:t>Complication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prstClr val="white"/>
                </a:solidFill>
                <a:latin typeface="Calibri"/>
              </a:rPr>
              <a:t>Hard to identify tell-tale signs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white"/>
                </a:solidFill>
                <a:latin typeface="Calibri"/>
              </a:rPr>
              <a:t>If able to, often too late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prstClr val="white"/>
                </a:solidFill>
                <a:latin typeface="Calibri"/>
              </a:rPr>
              <a:t>Financial pressure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10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ounded Rectangle 123"/>
          <p:cNvSpPr/>
          <p:nvPr/>
        </p:nvSpPr>
        <p:spPr>
          <a:xfrm>
            <a:off x="7602675" y="4486761"/>
            <a:ext cx="3210662" cy="1169366"/>
          </a:xfrm>
          <a:prstGeom prst="roundRect">
            <a:avLst>
              <a:gd name="adj" fmla="val 10178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latin typeface="Calibri"/>
              </a:rPr>
              <a:t>Solu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latin typeface="Calibri"/>
              </a:rPr>
              <a:t>Predictive modelling with high accuracy 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Calibri"/>
              </a:rPr>
              <a:t>Random Fores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grpSp>
        <p:nvGrpSpPr>
          <p:cNvPr id="131" name="Group 818"/>
          <p:cNvGrpSpPr>
            <a:grpSpLocks noChangeAspect="1"/>
          </p:cNvGrpSpPr>
          <p:nvPr/>
        </p:nvGrpSpPr>
        <p:grpSpPr bwMode="auto">
          <a:xfrm>
            <a:off x="5796192" y="2492538"/>
            <a:ext cx="546011" cy="546008"/>
            <a:chOff x="5841" y="3004"/>
            <a:chExt cx="340" cy="340"/>
          </a:xfrm>
          <a:solidFill>
            <a:schemeClr val="bg1"/>
          </a:solidFill>
        </p:grpSpPr>
        <p:sp>
          <p:nvSpPr>
            <p:cNvPr id="132" name="Freeform 819"/>
            <p:cNvSpPr>
              <a:spLocks noEditPoints="1"/>
            </p:cNvSpPr>
            <p:nvPr/>
          </p:nvSpPr>
          <p:spPr bwMode="auto">
            <a:xfrm>
              <a:off x="5975" y="3124"/>
              <a:ext cx="71" cy="156"/>
            </a:xfrm>
            <a:custGeom>
              <a:avLst/>
              <a:gdLst>
                <a:gd name="T0" fmla="*/ 75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3 w 107"/>
                <a:gd name="T7" fmla="*/ 8 h 235"/>
                <a:gd name="T8" fmla="*/ 1 w 107"/>
                <a:gd name="T9" fmla="*/ 136 h 235"/>
                <a:gd name="T10" fmla="*/ 3 w 107"/>
                <a:gd name="T11" fmla="*/ 145 h 235"/>
                <a:gd name="T12" fmla="*/ 11 w 107"/>
                <a:gd name="T13" fmla="*/ 149 h 235"/>
                <a:gd name="T14" fmla="*/ 22 w 107"/>
                <a:gd name="T15" fmla="*/ 149 h 235"/>
                <a:gd name="T16" fmla="*/ 22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6 w 107"/>
                <a:gd name="T31" fmla="*/ 224 h 235"/>
                <a:gd name="T32" fmla="*/ 86 w 107"/>
                <a:gd name="T33" fmla="*/ 149 h 235"/>
                <a:gd name="T34" fmla="*/ 96 w 107"/>
                <a:gd name="T35" fmla="*/ 149 h 235"/>
                <a:gd name="T36" fmla="*/ 105 w 107"/>
                <a:gd name="T37" fmla="*/ 145 h 235"/>
                <a:gd name="T38" fmla="*/ 107 w 107"/>
                <a:gd name="T39" fmla="*/ 136 h 235"/>
                <a:gd name="T40" fmla="*/ 75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3 w 107"/>
                <a:gd name="T47" fmla="*/ 128 h 235"/>
                <a:gd name="T48" fmla="*/ 25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5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3" y="8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0" y="139"/>
                    <a:pt x="1" y="143"/>
                    <a:pt x="3" y="145"/>
                  </a:cubicBezTo>
                  <a:cubicBezTo>
                    <a:pt x="5" y="148"/>
                    <a:pt x="8" y="149"/>
                    <a:pt x="11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2" y="224"/>
                    <a:pt x="22" y="224"/>
                    <a:pt x="22" y="224"/>
                  </a:cubicBezTo>
                  <a:cubicBezTo>
                    <a:pt x="22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6" y="230"/>
                    <a:pt x="86" y="224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100" y="149"/>
                    <a:pt x="103" y="148"/>
                    <a:pt x="105" y="145"/>
                  </a:cubicBezTo>
                  <a:cubicBezTo>
                    <a:pt x="107" y="143"/>
                    <a:pt x="107" y="139"/>
                    <a:pt x="107" y="136"/>
                  </a:cubicBezTo>
                  <a:lnTo>
                    <a:pt x="75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25" y="128"/>
                    <a:pt x="25" y="128"/>
                    <a:pt x="25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Freeform 820"/>
            <p:cNvSpPr>
              <a:spLocks noEditPoints="1"/>
            </p:cNvSpPr>
            <p:nvPr/>
          </p:nvSpPr>
          <p:spPr bwMode="auto">
            <a:xfrm>
              <a:off x="5990" y="3068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Freeform 821"/>
            <p:cNvSpPr>
              <a:spLocks noEditPoints="1"/>
            </p:cNvSpPr>
            <p:nvPr/>
          </p:nvSpPr>
          <p:spPr bwMode="auto">
            <a:xfrm>
              <a:off x="5841" y="3004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35" name="Group 828"/>
          <p:cNvGrpSpPr>
            <a:grpSpLocks noChangeAspect="1"/>
          </p:cNvGrpSpPr>
          <p:nvPr/>
        </p:nvGrpSpPr>
        <p:grpSpPr bwMode="auto">
          <a:xfrm>
            <a:off x="6840477" y="4520444"/>
            <a:ext cx="552623" cy="551000"/>
            <a:chOff x="5042" y="3019"/>
            <a:chExt cx="341" cy="340"/>
          </a:xfrm>
          <a:solidFill>
            <a:schemeClr val="bg1"/>
          </a:solidFill>
        </p:grpSpPr>
        <p:sp>
          <p:nvSpPr>
            <p:cNvPr id="136" name="Freeform 829"/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Freeform 830"/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Freeform 831"/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832"/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833"/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1" name="Group 844"/>
          <p:cNvGrpSpPr>
            <a:grpSpLocks noChangeAspect="1"/>
          </p:cNvGrpSpPr>
          <p:nvPr/>
        </p:nvGrpSpPr>
        <p:grpSpPr bwMode="auto">
          <a:xfrm>
            <a:off x="4709777" y="4461133"/>
            <a:ext cx="551003" cy="551001"/>
            <a:chOff x="4301" y="3046"/>
            <a:chExt cx="340" cy="340"/>
          </a:xfrm>
          <a:solidFill>
            <a:schemeClr val="bg1"/>
          </a:solidFill>
        </p:grpSpPr>
        <p:sp>
          <p:nvSpPr>
            <p:cNvPr id="142" name="Freeform 845"/>
            <p:cNvSpPr>
              <a:spLocks noEditPoints="1"/>
            </p:cNvSpPr>
            <p:nvPr/>
          </p:nvSpPr>
          <p:spPr bwMode="auto">
            <a:xfrm>
              <a:off x="4371" y="3166"/>
              <a:ext cx="57" cy="142"/>
            </a:xfrm>
            <a:custGeom>
              <a:avLst/>
              <a:gdLst>
                <a:gd name="T0" fmla="*/ 54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1 w 86"/>
                <a:gd name="T7" fmla="*/ 115 h 213"/>
                <a:gd name="T8" fmla="*/ 3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2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4 w 86"/>
                <a:gd name="T21" fmla="*/ 128 h 213"/>
                <a:gd name="T22" fmla="*/ 54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4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4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0" y="118"/>
                    <a:pt x="1" y="122"/>
                    <a:pt x="3" y="124"/>
                  </a:cubicBezTo>
                  <a:cubicBezTo>
                    <a:pt x="5" y="127"/>
                    <a:pt x="8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6" y="213"/>
                    <a:pt x="22" y="213"/>
                  </a:cubicBezTo>
                  <a:cubicBezTo>
                    <a:pt x="28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54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9" y="0"/>
                    <a:pt x="54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846"/>
            <p:cNvSpPr>
              <a:spLocks noEditPoints="1"/>
            </p:cNvSpPr>
            <p:nvPr/>
          </p:nvSpPr>
          <p:spPr bwMode="auto">
            <a:xfrm>
              <a:off x="4379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847"/>
            <p:cNvSpPr>
              <a:spLocks noEditPoints="1"/>
            </p:cNvSpPr>
            <p:nvPr/>
          </p:nvSpPr>
          <p:spPr bwMode="auto">
            <a:xfrm>
              <a:off x="4513" y="3166"/>
              <a:ext cx="57" cy="142"/>
            </a:xfrm>
            <a:custGeom>
              <a:avLst/>
              <a:gdLst>
                <a:gd name="T0" fmla="*/ 74 w 85"/>
                <a:gd name="T1" fmla="*/ 0 h 213"/>
                <a:gd name="T2" fmla="*/ 10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0 w 85"/>
                <a:gd name="T9" fmla="*/ 107 h 213"/>
                <a:gd name="T10" fmla="*/ 10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4 w 85"/>
                <a:gd name="T25" fmla="*/ 203 h 213"/>
                <a:gd name="T26" fmla="*/ 74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4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4" y="107"/>
                    <a:pt x="10" y="107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4" y="209"/>
                    <a:pt x="74" y="203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80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0" y="0"/>
                    <a:pt x="74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848"/>
            <p:cNvSpPr>
              <a:spLocks noEditPoints="1"/>
            </p:cNvSpPr>
            <p:nvPr/>
          </p:nvSpPr>
          <p:spPr bwMode="auto">
            <a:xfrm>
              <a:off x="4520" y="3110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849"/>
            <p:cNvSpPr>
              <a:spLocks noEditPoints="1"/>
            </p:cNvSpPr>
            <p:nvPr/>
          </p:nvSpPr>
          <p:spPr bwMode="auto">
            <a:xfrm>
              <a:off x="4442" y="3166"/>
              <a:ext cx="57" cy="142"/>
            </a:xfrm>
            <a:custGeom>
              <a:avLst/>
              <a:gdLst>
                <a:gd name="T0" fmla="*/ 75 w 85"/>
                <a:gd name="T1" fmla="*/ 0 h 213"/>
                <a:gd name="T2" fmla="*/ 11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1 w 85"/>
                <a:gd name="T9" fmla="*/ 107 h 213"/>
                <a:gd name="T10" fmla="*/ 11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5 w 85"/>
                <a:gd name="T25" fmla="*/ 203 h 213"/>
                <a:gd name="T26" fmla="*/ 75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5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7"/>
                    <a:pt x="11" y="107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81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1" y="0"/>
                    <a:pt x="75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850"/>
            <p:cNvSpPr>
              <a:spLocks noEditPoints="1"/>
            </p:cNvSpPr>
            <p:nvPr/>
          </p:nvSpPr>
          <p:spPr bwMode="auto">
            <a:xfrm>
              <a:off x="4450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reeform 851"/>
            <p:cNvSpPr>
              <a:spLocks noEditPoints="1"/>
            </p:cNvSpPr>
            <p:nvPr/>
          </p:nvSpPr>
          <p:spPr bwMode="auto">
            <a:xfrm>
              <a:off x="4301" y="304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487786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5134" y="718109"/>
            <a:ext cx="11188700" cy="757255"/>
          </a:xfrm>
        </p:spPr>
        <p:txBody>
          <a:bodyPr/>
          <a:lstStyle/>
          <a:p>
            <a:r>
              <a:rPr lang="en-US"/>
              <a:t>Importance of pre-processing techniques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>
          <a:xfrm>
            <a:off x="485134" y="438970"/>
            <a:ext cx="11188700" cy="334099"/>
          </a:xfrm>
        </p:spPr>
        <p:txBody>
          <a:bodyPr/>
          <a:lstStyle/>
          <a:p>
            <a:r>
              <a:rPr lang="en-US" altLang="ja-JP"/>
              <a:t>Motivations, Challenges, and Pre-processes</a:t>
            </a:r>
            <a:endParaRPr lang="en-US"/>
          </a:p>
        </p:txBody>
      </p:sp>
      <p:sp>
        <p:nvSpPr>
          <p:cNvPr id="34" name="Oval 155"/>
          <p:cNvSpPr/>
          <p:nvPr/>
        </p:nvSpPr>
        <p:spPr>
          <a:xfrm rot="2700000">
            <a:off x="5746484" y="2232802"/>
            <a:ext cx="918102" cy="1717632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9"/>
                  <a:pt x="552413" y="0"/>
                  <a:pt x="612067" y="0"/>
                </a:cubicBezTo>
                <a:cubicBezTo>
                  <a:pt x="731374" y="0"/>
                  <a:pt x="828091" y="96717"/>
                  <a:pt x="828091" y="216024"/>
                </a:cubicBezTo>
                <a:cubicBezTo>
                  <a:pt x="828091" y="299408"/>
                  <a:pt x="780848" y="371757"/>
                  <a:pt x="711216" y="406896"/>
                </a:cubicBezTo>
                <a:cubicBezTo>
                  <a:pt x="691916" y="450663"/>
                  <a:pt x="710516" y="496019"/>
                  <a:pt x="737802" y="533019"/>
                </a:cubicBezTo>
                <a:lnTo>
                  <a:pt x="1224136" y="533019"/>
                </a:lnTo>
                <a:lnTo>
                  <a:pt x="1224136" y="1019520"/>
                </a:lnTo>
                <a:cubicBezTo>
                  <a:pt x="1187224" y="1046736"/>
                  <a:pt x="1141992" y="1065189"/>
                  <a:pt x="1098339" y="1045939"/>
                </a:cubicBezTo>
                <a:cubicBezTo>
                  <a:pt x="1063200" y="976307"/>
                  <a:pt x="990851" y="929064"/>
                  <a:pt x="907467" y="929064"/>
                </a:cubicBezTo>
                <a:cubicBezTo>
                  <a:pt x="788160" y="929064"/>
                  <a:pt x="691443" y="1025781"/>
                  <a:pt x="691443" y="1145088"/>
                </a:cubicBezTo>
                <a:cubicBezTo>
                  <a:pt x="691443" y="1204742"/>
                  <a:pt x="715622" y="1258747"/>
                  <a:pt x="754715" y="1297840"/>
                </a:cubicBezTo>
                <a:cubicBezTo>
                  <a:pt x="793807" y="1336933"/>
                  <a:pt x="847813" y="1361112"/>
                  <a:pt x="907467" y="1361112"/>
                </a:cubicBezTo>
                <a:cubicBezTo>
                  <a:pt x="988927" y="1361112"/>
                  <a:pt x="1059856" y="1316024"/>
                  <a:pt x="1095778" y="1248955"/>
                </a:cubicBezTo>
                <a:cubicBezTo>
                  <a:pt x="1141514" y="1226580"/>
                  <a:pt x="1182162" y="1242465"/>
                  <a:pt x="1224136" y="1270694"/>
                </a:cubicBezTo>
                <a:lnTo>
                  <a:pt x="1224136" y="1757155"/>
                </a:lnTo>
                <a:lnTo>
                  <a:pt x="737829" y="1757155"/>
                </a:lnTo>
                <a:cubicBezTo>
                  <a:pt x="709519" y="1799263"/>
                  <a:pt x="693505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8" y="1839512"/>
                  <a:pt x="513617" y="1794156"/>
                  <a:pt x="486331" y="1757155"/>
                </a:cubicBezTo>
                <a:lnTo>
                  <a:pt x="0" y="1757155"/>
                </a:lnTo>
                <a:lnTo>
                  <a:pt x="0" y="1267857"/>
                </a:lnTo>
                <a:cubicBezTo>
                  <a:pt x="35436" y="1241878"/>
                  <a:pt x="78596" y="1225841"/>
                  <a:pt x="120314" y="1244237"/>
                </a:cubicBezTo>
                <a:cubicBezTo>
                  <a:pt x="155453" y="1313869"/>
                  <a:pt x="227802" y="1361112"/>
                  <a:pt x="311186" y="1361112"/>
                </a:cubicBezTo>
                <a:cubicBezTo>
                  <a:pt x="430493" y="1361112"/>
                  <a:pt x="527210" y="1264395"/>
                  <a:pt x="527210" y="1145088"/>
                </a:cubicBezTo>
                <a:cubicBezTo>
                  <a:pt x="527210" y="1085434"/>
                  <a:pt x="503031" y="1031429"/>
                  <a:pt x="463938" y="992336"/>
                </a:cubicBezTo>
                <a:cubicBezTo>
                  <a:pt x="424846" y="953243"/>
                  <a:pt x="370840" y="929064"/>
                  <a:pt x="311186" y="929064"/>
                </a:cubicBezTo>
                <a:cubicBezTo>
                  <a:pt x="229726" y="929064"/>
                  <a:pt x="158797" y="974152"/>
                  <a:pt x="122875" y="1041221"/>
                </a:cubicBezTo>
                <a:cubicBezTo>
                  <a:pt x="78969" y="1062702"/>
                  <a:pt x="39751" y="1048921"/>
                  <a:pt x="0" y="1022105"/>
                </a:cubicBezTo>
                <a:lnTo>
                  <a:pt x="0" y="533019"/>
                </a:lnTo>
                <a:lnTo>
                  <a:pt x="486305" y="533019"/>
                </a:lnTo>
                <a:cubicBezTo>
                  <a:pt x="514616" y="490912"/>
                  <a:pt x="530628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2" y="102364"/>
                  <a:pt x="459315" y="63272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050">
              <a:solidFill>
                <a:schemeClr val="tx2"/>
              </a:solidFill>
            </a:endParaRPr>
          </a:p>
        </p:txBody>
      </p:sp>
      <p:sp>
        <p:nvSpPr>
          <p:cNvPr id="35" name="Oval 155"/>
          <p:cNvSpPr/>
          <p:nvPr/>
        </p:nvSpPr>
        <p:spPr>
          <a:xfrm rot="18900000">
            <a:off x="6395853" y="2882171"/>
            <a:ext cx="918102" cy="1717632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764820" y="63272"/>
                </a:moveTo>
                <a:cubicBezTo>
                  <a:pt x="803913" y="102365"/>
                  <a:pt x="828092" y="156370"/>
                  <a:pt x="828092" y="216024"/>
                </a:cubicBezTo>
                <a:cubicBezTo>
                  <a:pt x="828092" y="299408"/>
                  <a:pt x="780849" y="371757"/>
                  <a:pt x="711217" y="406896"/>
                </a:cubicBezTo>
                <a:cubicBezTo>
                  <a:pt x="691917" y="450664"/>
                  <a:pt x="710518" y="496020"/>
                  <a:pt x="737803" y="533020"/>
                </a:cubicBezTo>
                <a:lnTo>
                  <a:pt x="1224136" y="533020"/>
                </a:lnTo>
                <a:lnTo>
                  <a:pt x="1224136" y="1022318"/>
                </a:lnTo>
                <a:cubicBezTo>
                  <a:pt x="1188700" y="1048297"/>
                  <a:pt x="1145539" y="1064335"/>
                  <a:pt x="1103821" y="1045938"/>
                </a:cubicBezTo>
                <a:cubicBezTo>
                  <a:pt x="1068682" y="976306"/>
                  <a:pt x="996333" y="929063"/>
                  <a:pt x="912949" y="929063"/>
                </a:cubicBezTo>
                <a:cubicBezTo>
                  <a:pt x="793642" y="929063"/>
                  <a:pt x="696925" y="1025780"/>
                  <a:pt x="696925" y="1145087"/>
                </a:cubicBezTo>
                <a:cubicBezTo>
                  <a:pt x="696925" y="1204741"/>
                  <a:pt x="721104" y="1258746"/>
                  <a:pt x="760197" y="1297839"/>
                </a:cubicBezTo>
                <a:cubicBezTo>
                  <a:pt x="799289" y="1336932"/>
                  <a:pt x="853295" y="1361111"/>
                  <a:pt x="912949" y="1361111"/>
                </a:cubicBezTo>
                <a:cubicBezTo>
                  <a:pt x="994409" y="1361111"/>
                  <a:pt x="1065338" y="1316024"/>
                  <a:pt x="1101260" y="1248954"/>
                </a:cubicBezTo>
                <a:cubicBezTo>
                  <a:pt x="1145167" y="1227474"/>
                  <a:pt x="1184385" y="1241254"/>
                  <a:pt x="1224136" y="1268071"/>
                </a:cubicBezTo>
                <a:lnTo>
                  <a:pt x="1224136" y="1757156"/>
                </a:lnTo>
                <a:lnTo>
                  <a:pt x="737830" y="1757156"/>
                </a:lnTo>
                <a:cubicBezTo>
                  <a:pt x="709520" y="1799264"/>
                  <a:pt x="693507" y="1839997"/>
                  <a:pt x="715935" y="1885841"/>
                </a:cubicBezTo>
                <a:cubicBezTo>
                  <a:pt x="783004" y="1921763"/>
                  <a:pt x="828092" y="1992692"/>
                  <a:pt x="828092" y="2074152"/>
                </a:cubicBezTo>
                <a:cubicBezTo>
                  <a:pt x="828092" y="2133806"/>
                  <a:pt x="803913" y="2187812"/>
                  <a:pt x="764820" y="2226904"/>
                </a:cubicBezTo>
                <a:cubicBezTo>
                  <a:pt x="725727" y="2265997"/>
                  <a:pt x="671722" y="2290176"/>
                  <a:pt x="612068" y="2290176"/>
                </a:cubicBezTo>
                <a:cubicBezTo>
                  <a:pt x="492761" y="2290176"/>
                  <a:pt x="396044" y="2193459"/>
                  <a:pt x="396044" y="2074152"/>
                </a:cubicBezTo>
                <a:cubicBezTo>
                  <a:pt x="396044" y="1990768"/>
                  <a:pt x="443287" y="1918419"/>
                  <a:pt x="512919" y="1883280"/>
                </a:cubicBezTo>
                <a:cubicBezTo>
                  <a:pt x="532219" y="1839512"/>
                  <a:pt x="513618" y="1794157"/>
                  <a:pt x="486333" y="1757156"/>
                </a:cubicBezTo>
                <a:lnTo>
                  <a:pt x="0" y="1757156"/>
                </a:lnTo>
                <a:lnTo>
                  <a:pt x="0" y="1271295"/>
                </a:lnTo>
                <a:cubicBezTo>
                  <a:pt x="37251" y="1243817"/>
                  <a:pt x="82955" y="1224793"/>
                  <a:pt x="127049" y="1244237"/>
                </a:cubicBezTo>
                <a:cubicBezTo>
                  <a:pt x="162188" y="1313869"/>
                  <a:pt x="234537" y="1361112"/>
                  <a:pt x="317921" y="1361112"/>
                </a:cubicBezTo>
                <a:cubicBezTo>
                  <a:pt x="437228" y="1361112"/>
                  <a:pt x="533945" y="1264395"/>
                  <a:pt x="533945" y="1145088"/>
                </a:cubicBezTo>
                <a:cubicBezTo>
                  <a:pt x="533945" y="1085434"/>
                  <a:pt x="509766" y="1031429"/>
                  <a:pt x="470673" y="992336"/>
                </a:cubicBezTo>
                <a:cubicBezTo>
                  <a:pt x="431581" y="953243"/>
                  <a:pt x="377575" y="929064"/>
                  <a:pt x="317921" y="929064"/>
                </a:cubicBezTo>
                <a:cubicBezTo>
                  <a:pt x="236461" y="929064"/>
                  <a:pt x="165532" y="974152"/>
                  <a:pt x="129610" y="1041221"/>
                </a:cubicBezTo>
                <a:cubicBezTo>
                  <a:pt x="83460" y="1063799"/>
                  <a:pt x="42490" y="1047421"/>
                  <a:pt x="0" y="1018884"/>
                </a:cubicBezTo>
                <a:lnTo>
                  <a:pt x="0" y="533020"/>
                </a:lnTo>
                <a:lnTo>
                  <a:pt x="486306" y="533020"/>
                </a:lnTo>
                <a:cubicBezTo>
                  <a:pt x="514616" y="490912"/>
                  <a:pt x="530629" y="450179"/>
                  <a:pt x="508201" y="404335"/>
                </a:cubicBezTo>
                <a:cubicBezTo>
                  <a:pt x="441132" y="368413"/>
                  <a:pt x="396044" y="297484"/>
                  <a:pt x="396044" y="216024"/>
                </a:cubicBezTo>
                <a:cubicBezTo>
                  <a:pt x="396044" y="156370"/>
                  <a:pt x="420223" y="102364"/>
                  <a:pt x="459316" y="63272"/>
                </a:cubicBezTo>
                <a:cubicBezTo>
                  <a:pt x="498409" y="24179"/>
                  <a:pt x="552414" y="0"/>
                  <a:pt x="612068" y="0"/>
                </a:cubicBezTo>
                <a:cubicBezTo>
                  <a:pt x="671722" y="0"/>
                  <a:pt x="725728" y="24180"/>
                  <a:pt x="764820" y="63272"/>
                </a:cubicBezTo>
                <a:close/>
              </a:path>
            </a:pathLst>
          </a:cu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050" err="1">
              <a:solidFill>
                <a:schemeClr val="tx2"/>
              </a:solidFill>
            </a:endParaRPr>
          </a:p>
        </p:txBody>
      </p:sp>
      <p:sp>
        <p:nvSpPr>
          <p:cNvPr id="36" name="Oval 155"/>
          <p:cNvSpPr/>
          <p:nvPr/>
        </p:nvSpPr>
        <p:spPr>
          <a:xfrm rot="18900000">
            <a:off x="5097097" y="2882192"/>
            <a:ext cx="918102" cy="1717633"/>
          </a:xfrm>
          <a:custGeom>
            <a:avLst/>
            <a:gdLst/>
            <a:ahLst/>
            <a:cxnLst/>
            <a:rect l="l" t="t" r="r" b="b"/>
            <a:pathLst>
              <a:path w="1224136" h="2290177">
                <a:moveTo>
                  <a:pt x="764821" y="63272"/>
                </a:moveTo>
                <a:cubicBezTo>
                  <a:pt x="803914" y="102365"/>
                  <a:pt x="828093" y="156370"/>
                  <a:pt x="828093" y="216024"/>
                </a:cubicBezTo>
                <a:cubicBezTo>
                  <a:pt x="828093" y="299408"/>
                  <a:pt x="780850" y="371757"/>
                  <a:pt x="711218" y="406896"/>
                </a:cubicBezTo>
                <a:cubicBezTo>
                  <a:pt x="691918" y="450664"/>
                  <a:pt x="710519" y="496020"/>
                  <a:pt x="737804" y="533020"/>
                </a:cubicBezTo>
                <a:lnTo>
                  <a:pt x="1224136" y="533020"/>
                </a:lnTo>
                <a:lnTo>
                  <a:pt x="1224136" y="1019537"/>
                </a:lnTo>
                <a:cubicBezTo>
                  <a:pt x="1187233" y="1046745"/>
                  <a:pt x="1142014" y="1065183"/>
                  <a:pt x="1098373" y="1045938"/>
                </a:cubicBezTo>
                <a:cubicBezTo>
                  <a:pt x="1063233" y="976306"/>
                  <a:pt x="990884" y="929063"/>
                  <a:pt x="907500" y="929063"/>
                </a:cubicBezTo>
                <a:cubicBezTo>
                  <a:pt x="788193" y="929063"/>
                  <a:pt x="691476" y="1025780"/>
                  <a:pt x="691476" y="1145087"/>
                </a:cubicBezTo>
                <a:cubicBezTo>
                  <a:pt x="691476" y="1204741"/>
                  <a:pt x="715655" y="1258747"/>
                  <a:pt x="754748" y="1297839"/>
                </a:cubicBezTo>
                <a:cubicBezTo>
                  <a:pt x="793841" y="1336932"/>
                  <a:pt x="847846" y="1361111"/>
                  <a:pt x="907500" y="1361111"/>
                </a:cubicBezTo>
                <a:cubicBezTo>
                  <a:pt x="988961" y="1361111"/>
                  <a:pt x="1059890" y="1316024"/>
                  <a:pt x="1095811" y="1248954"/>
                </a:cubicBezTo>
                <a:cubicBezTo>
                  <a:pt x="1141537" y="1226584"/>
                  <a:pt x="1182177" y="1242456"/>
                  <a:pt x="1224136" y="1270677"/>
                </a:cubicBezTo>
                <a:lnTo>
                  <a:pt x="1224136" y="1757156"/>
                </a:lnTo>
                <a:lnTo>
                  <a:pt x="737831" y="1757156"/>
                </a:lnTo>
                <a:cubicBezTo>
                  <a:pt x="709521" y="1799265"/>
                  <a:pt x="693508" y="1839998"/>
                  <a:pt x="715937" y="1885842"/>
                </a:cubicBezTo>
                <a:cubicBezTo>
                  <a:pt x="783005" y="1921764"/>
                  <a:pt x="828094" y="1992693"/>
                  <a:pt x="828094" y="2074153"/>
                </a:cubicBezTo>
                <a:cubicBezTo>
                  <a:pt x="828093" y="2133807"/>
                  <a:pt x="803915" y="2187813"/>
                  <a:pt x="764821" y="2226905"/>
                </a:cubicBezTo>
                <a:cubicBezTo>
                  <a:pt x="725728" y="2265998"/>
                  <a:pt x="671723" y="2290177"/>
                  <a:pt x="612070" y="2290177"/>
                </a:cubicBezTo>
                <a:cubicBezTo>
                  <a:pt x="492762" y="2290177"/>
                  <a:pt x="396045" y="2193460"/>
                  <a:pt x="396045" y="2074153"/>
                </a:cubicBezTo>
                <a:cubicBezTo>
                  <a:pt x="396045" y="1990769"/>
                  <a:pt x="443288" y="1918420"/>
                  <a:pt x="512921" y="1883281"/>
                </a:cubicBezTo>
                <a:cubicBezTo>
                  <a:pt x="532220" y="1839513"/>
                  <a:pt x="513619" y="1794157"/>
                  <a:pt x="486333" y="1757155"/>
                </a:cubicBezTo>
                <a:lnTo>
                  <a:pt x="1" y="1757156"/>
                </a:lnTo>
                <a:lnTo>
                  <a:pt x="1" y="1271298"/>
                </a:lnTo>
                <a:cubicBezTo>
                  <a:pt x="37251" y="1243817"/>
                  <a:pt x="82956" y="1224794"/>
                  <a:pt x="127049" y="1244238"/>
                </a:cubicBezTo>
                <a:cubicBezTo>
                  <a:pt x="162189" y="1313869"/>
                  <a:pt x="234538" y="1361113"/>
                  <a:pt x="317921" y="1361113"/>
                </a:cubicBezTo>
                <a:cubicBezTo>
                  <a:pt x="437228" y="1361113"/>
                  <a:pt x="533945" y="1264396"/>
                  <a:pt x="533945" y="1145089"/>
                </a:cubicBezTo>
                <a:cubicBezTo>
                  <a:pt x="533945" y="1085435"/>
                  <a:pt x="509766" y="1031429"/>
                  <a:pt x="470673" y="992337"/>
                </a:cubicBezTo>
                <a:cubicBezTo>
                  <a:pt x="431581" y="953244"/>
                  <a:pt x="377575" y="929065"/>
                  <a:pt x="317921" y="929065"/>
                </a:cubicBezTo>
                <a:cubicBezTo>
                  <a:pt x="236461" y="929065"/>
                  <a:pt x="165532" y="974153"/>
                  <a:pt x="129610" y="1041222"/>
                </a:cubicBezTo>
                <a:cubicBezTo>
                  <a:pt x="83461" y="1063799"/>
                  <a:pt x="42491" y="1047422"/>
                  <a:pt x="0" y="1018884"/>
                </a:cubicBezTo>
                <a:lnTo>
                  <a:pt x="0" y="533020"/>
                </a:lnTo>
                <a:lnTo>
                  <a:pt x="486307" y="533020"/>
                </a:lnTo>
                <a:cubicBezTo>
                  <a:pt x="514617" y="490912"/>
                  <a:pt x="530630" y="450179"/>
                  <a:pt x="508202" y="404335"/>
                </a:cubicBezTo>
                <a:cubicBezTo>
                  <a:pt x="441133" y="368413"/>
                  <a:pt x="396045" y="297484"/>
                  <a:pt x="396045" y="216024"/>
                </a:cubicBezTo>
                <a:cubicBezTo>
                  <a:pt x="396045" y="156370"/>
                  <a:pt x="420224" y="102364"/>
                  <a:pt x="459317" y="63272"/>
                </a:cubicBezTo>
                <a:cubicBezTo>
                  <a:pt x="498410" y="24179"/>
                  <a:pt x="552415" y="0"/>
                  <a:pt x="612069" y="0"/>
                </a:cubicBezTo>
                <a:cubicBezTo>
                  <a:pt x="671723" y="0"/>
                  <a:pt x="725728" y="24179"/>
                  <a:pt x="764821" y="63272"/>
                </a:cubicBez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050" err="1">
              <a:solidFill>
                <a:schemeClr val="tx2"/>
              </a:solidFill>
            </a:endParaRPr>
          </a:p>
        </p:txBody>
      </p:sp>
      <p:sp>
        <p:nvSpPr>
          <p:cNvPr id="37" name="Rectangle 140"/>
          <p:cNvSpPr/>
          <p:nvPr/>
        </p:nvSpPr>
        <p:spPr>
          <a:xfrm rot="2700000">
            <a:off x="5746466" y="3531558"/>
            <a:ext cx="918102" cy="1717632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8"/>
                  <a:pt x="552413" y="-1"/>
                  <a:pt x="612067" y="0"/>
                </a:cubicBezTo>
                <a:cubicBezTo>
                  <a:pt x="731374" y="-1"/>
                  <a:pt x="828091" y="96717"/>
                  <a:pt x="828091" y="216024"/>
                </a:cubicBezTo>
                <a:cubicBezTo>
                  <a:pt x="828091" y="299408"/>
                  <a:pt x="780848" y="371756"/>
                  <a:pt x="711216" y="406896"/>
                </a:cubicBezTo>
                <a:cubicBezTo>
                  <a:pt x="691916" y="450663"/>
                  <a:pt x="710517" y="496019"/>
                  <a:pt x="737802" y="533019"/>
                </a:cubicBezTo>
                <a:lnTo>
                  <a:pt x="1224136" y="533019"/>
                </a:lnTo>
                <a:lnTo>
                  <a:pt x="1224136" y="1022319"/>
                </a:lnTo>
                <a:cubicBezTo>
                  <a:pt x="1188699" y="1048297"/>
                  <a:pt x="1145539" y="1064335"/>
                  <a:pt x="1103821" y="1045939"/>
                </a:cubicBezTo>
                <a:cubicBezTo>
                  <a:pt x="1068681" y="976307"/>
                  <a:pt x="996332" y="929064"/>
                  <a:pt x="912948" y="929064"/>
                </a:cubicBezTo>
                <a:cubicBezTo>
                  <a:pt x="793641" y="929064"/>
                  <a:pt x="696924" y="1025781"/>
                  <a:pt x="696924" y="1145088"/>
                </a:cubicBezTo>
                <a:cubicBezTo>
                  <a:pt x="696924" y="1204742"/>
                  <a:pt x="721103" y="1258747"/>
                  <a:pt x="760196" y="1297840"/>
                </a:cubicBezTo>
                <a:cubicBezTo>
                  <a:pt x="799288" y="1336933"/>
                  <a:pt x="853295" y="1361112"/>
                  <a:pt x="912948" y="1361112"/>
                </a:cubicBezTo>
                <a:cubicBezTo>
                  <a:pt x="994408" y="1361112"/>
                  <a:pt x="1065338" y="1316024"/>
                  <a:pt x="1101259" y="1248955"/>
                </a:cubicBezTo>
                <a:cubicBezTo>
                  <a:pt x="1145166" y="1227475"/>
                  <a:pt x="1184384" y="1241255"/>
                  <a:pt x="1224136" y="1268072"/>
                </a:cubicBezTo>
                <a:lnTo>
                  <a:pt x="1224136" y="1757155"/>
                </a:lnTo>
                <a:lnTo>
                  <a:pt x="737830" y="1757155"/>
                </a:lnTo>
                <a:cubicBezTo>
                  <a:pt x="709519" y="1799263"/>
                  <a:pt x="693506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9" y="1839511"/>
                  <a:pt x="513617" y="1794156"/>
                  <a:pt x="486332" y="1757155"/>
                </a:cubicBezTo>
                <a:lnTo>
                  <a:pt x="0" y="1757155"/>
                </a:lnTo>
                <a:lnTo>
                  <a:pt x="0" y="1270658"/>
                </a:lnTo>
                <a:cubicBezTo>
                  <a:pt x="36913" y="1243440"/>
                  <a:pt x="82146" y="1224987"/>
                  <a:pt x="125800" y="1244235"/>
                </a:cubicBezTo>
                <a:cubicBezTo>
                  <a:pt x="160938" y="1313868"/>
                  <a:pt x="233287" y="1361111"/>
                  <a:pt x="316671" y="1361111"/>
                </a:cubicBezTo>
                <a:cubicBezTo>
                  <a:pt x="435979" y="1361111"/>
                  <a:pt x="532696" y="1264394"/>
                  <a:pt x="532695" y="1145087"/>
                </a:cubicBezTo>
                <a:cubicBezTo>
                  <a:pt x="532696" y="1085433"/>
                  <a:pt x="508516" y="1031428"/>
                  <a:pt x="469423" y="992335"/>
                </a:cubicBezTo>
                <a:cubicBezTo>
                  <a:pt x="430331" y="953241"/>
                  <a:pt x="376325" y="929063"/>
                  <a:pt x="316671" y="929063"/>
                </a:cubicBezTo>
                <a:cubicBezTo>
                  <a:pt x="235212" y="929062"/>
                  <a:pt x="164282" y="974151"/>
                  <a:pt x="128360" y="1041219"/>
                </a:cubicBezTo>
                <a:cubicBezTo>
                  <a:pt x="82624" y="1063596"/>
                  <a:pt x="41974" y="1047710"/>
                  <a:pt x="0" y="1019480"/>
                </a:cubicBezTo>
                <a:lnTo>
                  <a:pt x="0" y="533019"/>
                </a:lnTo>
                <a:lnTo>
                  <a:pt x="486306" y="533019"/>
                </a:lnTo>
                <a:cubicBezTo>
                  <a:pt x="514616" y="490911"/>
                  <a:pt x="530629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3" y="102364"/>
                  <a:pt x="459315" y="63272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050" err="1">
              <a:solidFill>
                <a:schemeClr val="tx2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046308" y="2181670"/>
            <a:ext cx="2818542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schemeClr val="accent3"/>
                </a:solidFill>
              </a:rPr>
              <a:t>Motivation</a:t>
            </a:r>
            <a:br>
              <a:rPr lang="en-US" sz="1400" b="1"/>
            </a:br>
            <a:r>
              <a:rPr lang="en-US" sz="1400"/>
              <a:t>Working with the same preprocessed dataset would enable </a:t>
            </a:r>
            <a:r>
              <a:rPr lang="en-US" sz="1400" b="1"/>
              <a:t>comparability</a:t>
            </a:r>
            <a:r>
              <a:rPr lang="en-US" sz="1400"/>
              <a:t> among the models created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046308" y="4812014"/>
            <a:ext cx="2818542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b="1">
                <a:solidFill>
                  <a:schemeClr val="accent4"/>
                </a:solidFill>
              </a:rPr>
              <a:t>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/>
              <a:t>Dataset with </a:t>
            </a:r>
            <a:r>
              <a:rPr lang="en-US" sz="1400" b="1"/>
              <a:t>balanced failures </a:t>
            </a:r>
            <a:r>
              <a:rPr lang="en-US" sz="1400"/>
              <a:t>and non-fail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/>
              <a:t>Columns with multiple categories transformed into </a:t>
            </a:r>
            <a:r>
              <a:rPr lang="en-US" sz="1400" b="1"/>
              <a:t>binary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/>
              <a:t>Multiple columns to indicate failure </a:t>
            </a:r>
            <a:r>
              <a:rPr lang="en-US" sz="1400" b="1"/>
              <a:t>transformed into 1 column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733550" y="2181670"/>
            <a:ext cx="2407121" cy="11387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b="1">
                <a:solidFill>
                  <a:schemeClr val="accent2"/>
                </a:solidFill>
              </a:rPr>
              <a:t>Challenge</a:t>
            </a:r>
            <a:br>
              <a:rPr lang="en-US" sz="1200" b="1"/>
            </a:br>
            <a:r>
              <a:rPr lang="en-US" sz="1400"/>
              <a:t>Creating multiple reliable models consuming an </a:t>
            </a:r>
            <a:r>
              <a:rPr lang="en-US" sz="1400" b="1"/>
              <a:t>imbalanced dataset </a:t>
            </a:r>
            <a:r>
              <a:rPr lang="en-US" sz="1400"/>
              <a:t>with both </a:t>
            </a:r>
            <a:r>
              <a:rPr lang="en-US" sz="1400" b="1"/>
              <a:t>discrete</a:t>
            </a:r>
            <a:r>
              <a:rPr lang="en-US" sz="1400"/>
              <a:t> and </a:t>
            </a:r>
            <a:r>
              <a:rPr lang="en-US" sz="1400" b="1"/>
              <a:t>continuous</a:t>
            </a:r>
            <a:r>
              <a:rPr lang="en-US" sz="1400"/>
              <a:t> </a:t>
            </a:r>
            <a:r>
              <a:rPr lang="en-US" sz="1400" b="1"/>
              <a:t>variables</a:t>
            </a:r>
            <a:r>
              <a:rPr lang="en-US" sz="1400"/>
              <a:t>. 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327150" y="4876307"/>
            <a:ext cx="2813521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b="1">
                <a:solidFill>
                  <a:schemeClr val="accent5"/>
                </a:solidFill>
              </a:rPr>
              <a:t>Pre-Processing Techniques</a:t>
            </a:r>
            <a:endParaRPr lang="en-US" b="1"/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 b="1"/>
              <a:t>SMOTE</a:t>
            </a:r>
            <a:r>
              <a:rPr lang="en-US" sz="1400"/>
              <a:t> resampling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/>
              <a:t>Pandas </a:t>
            </a:r>
            <a:r>
              <a:rPr lang="en-US" sz="1400" b="1"/>
              <a:t>Get Dummies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 b="1"/>
              <a:t>Consolidation</a:t>
            </a:r>
            <a:r>
              <a:rPr lang="en-US" sz="1400"/>
              <a:t> of failures </a:t>
            </a:r>
          </a:p>
        </p:txBody>
      </p:sp>
      <p:sp>
        <p:nvSpPr>
          <p:cNvPr id="42" name="Freeform 41"/>
          <p:cNvSpPr/>
          <p:nvPr/>
        </p:nvSpPr>
        <p:spPr bwMode="gray">
          <a:xfrm flipH="1">
            <a:off x="6353175" y="2249221"/>
            <a:ext cx="1600200" cy="348670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sp>
        <p:nvSpPr>
          <p:cNvPr id="43" name="Freeform 42"/>
          <p:cNvSpPr/>
          <p:nvPr/>
        </p:nvSpPr>
        <p:spPr bwMode="gray">
          <a:xfrm>
            <a:off x="4221936" y="2249221"/>
            <a:ext cx="1181477" cy="1000642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sp>
        <p:nvSpPr>
          <p:cNvPr id="44" name="Freeform 43"/>
          <p:cNvSpPr/>
          <p:nvPr/>
        </p:nvSpPr>
        <p:spPr bwMode="gray">
          <a:xfrm rot="10800000">
            <a:off x="7017546" y="4221669"/>
            <a:ext cx="935831" cy="650366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sp>
        <p:nvSpPr>
          <p:cNvPr id="45" name="Freeform 44"/>
          <p:cNvSpPr/>
          <p:nvPr/>
        </p:nvSpPr>
        <p:spPr bwMode="gray">
          <a:xfrm rot="16200000">
            <a:off x="4650904" y="3872565"/>
            <a:ext cx="396698" cy="1583201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sp>
        <p:nvSpPr>
          <p:cNvPr id="49" name="Freeform 16"/>
          <p:cNvSpPr>
            <a:spLocks noChangeAspect="1"/>
          </p:cNvSpPr>
          <p:nvPr/>
        </p:nvSpPr>
        <p:spPr bwMode="auto">
          <a:xfrm rot="18900000">
            <a:off x="4303794" y="2384442"/>
            <a:ext cx="328271" cy="326059"/>
          </a:xfrm>
          <a:custGeom>
            <a:avLst/>
            <a:gdLst>
              <a:gd name="T0" fmla="*/ 212 w 212"/>
              <a:gd name="T1" fmla="*/ 105 h 210"/>
              <a:gd name="T2" fmla="*/ 212 w 212"/>
              <a:gd name="T3" fmla="*/ 105 h 210"/>
              <a:gd name="T4" fmla="*/ 212 w 212"/>
              <a:gd name="T5" fmla="*/ 105 h 210"/>
              <a:gd name="T6" fmla="*/ 212 w 212"/>
              <a:gd name="T7" fmla="*/ 105 h 210"/>
              <a:gd name="T8" fmla="*/ 198 w 212"/>
              <a:gd name="T9" fmla="*/ 97 h 210"/>
              <a:gd name="T10" fmla="*/ 153 w 212"/>
              <a:gd name="T11" fmla="*/ 93 h 210"/>
              <a:gd name="T12" fmla="*/ 140 w 212"/>
              <a:gd name="T13" fmla="*/ 77 h 210"/>
              <a:gd name="T14" fmla="*/ 146 w 212"/>
              <a:gd name="T15" fmla="*/ 70 h 210"/>
              <a:gd name="T16" fmla="*/ 140 w 212"/>
              <a:gd name="T17" fmla="*/ 64 h 210"/>
              <a:gd name="T18" fmla="*/ 139 w 212"/>
              <a:gd name="T19" fmla="*/ 64 h 210"/>
              <a:gd name="T20" fmla="*/ 139 w 212"/>
              <a:gd name="T21" fmla="*/ 64 h 210"/>
              <a:gd name="T22" fmla="*/ 131 w 212"/>
              <a:gd name="T23" fmla="*/ 64 h 210"/>
              <a:gd name="T24" fmla="*/ 117 w 212"/>
              <a:gd name="T25" fmla="*/ 45 h 210"/>
              <a:gd name="T26" fmla="*/ 117 w 212"/>
              <a:gd name="T27" fmla="*/ 45 h 210"/>
              <a:gd name="T28" fmla="*/ 123 w 212"/>
              <a:gd name="T29" fmla="*/ 39 h 210"/>
              <a:gd name="T30" fmla="*/ 118 w 212"/>
              <a:gd name="T31" fmla="*/ 33 h 210"/>
              <a:gd name="T32" fmla="*/ 118 w 212"/>
              <a:gd name="T33" fmla="*/ 33 h 210"/>
              <a:gd name="T34" fmla="*/ 108 w 212"/>
              <a:gd name="T35" fmla="*/ 33 h 210"/>
              <a:gd name="T36" fmla="*/ 101 w 212"/>
              <a:gd name="T37" fmla="*/ 24 h 210"/>
              <a:gd name="T38" fmla="*/ 89 w 212"/>
              <a:gd name="T39" fmla="*/ 7 h 210"/>
              <a:gd name="T40" fmla="*/ 77 w 212"/>
              <a:gd name="T41" fmla="*/ 0 h 210"/>
              <a:gd name="T42" fmla="*/ 67 w 212"/>
              <a:gd name="T43" fmla="*/ 0 h 210"/>
              <a:gd name="T44" fmla="*/ 86 w 212"/>
              <a:gd name="T45" fmla="*/ 45 h 210"/>
              <a:gd name="T46" fmla="*/ 94 w 212"/>
              <a:gd name="T47" fmla="*/ 64 h 210"/>
              <a:gd name="T48" fmla="*/ 98 w 212"/>
              <a:gd name="T49" fmla="*/ 85 h 210"/>
              <a:gd name="T50" fmla="*/ 80 w 212"/>
              <a:gd name="T51" fmla="*/ 95 h 210"/>
              <a:gd name="T52" fmla="*/ 36 w 212"/>
              <a:gd name="T53" fmla="*/ 97 h 210"/>
              <a:gd name="T54" fmla="*/ 14 w 212"/>
              <a:gd name="T55" fmla="*/ 69 h 210"/>
              <a:gd name="T56" fmla="*/ 0 w 212"/>
              <a:gd name="T57" fmla="*/ 67 h 210"/>
              <a:gd name="T58" fmla="*/ 9 w 212"/>
              <a:gd name="T59" fmla="*/ 101 h 210"/>
              <a:gd name="T60" fmla="*/ 8 w 212"/>
              <a:gd name="T61" fmla="*/ 101 h 210"/>
              <a:gd name="T62" fmla="*/ 4 w 212"/>
              <a:gd name="T63" fmla="*/ 105 h 210"/>
              <a:gd name="T64" fmla="*/ 8 w 212"/>
              <a:gd name="T65" fmla="*/ 110 h 210"/>
              <a:gd name="T66" fmla="*/ 9 w 212"/>
              <a:gd name="T67" fmla="*/ 110 h 210"/>
              <a:gd name="T68" fmla="*/ 0 w 212"/>
              <a:gd name="T69" fmla="*/ 143 h 210"/>
              <a:gd name="T70" fmla="*/ 14 w 212"/>
              <a:gd name="T71" fmla="*/ 141 h 210"/>
              <a:gd name="T72" fmla="*/ 36 w 212"/>
              <a:gd name="T73" fmla="*/ 112 h 210"/>
              <a:gd name="T74" fmla="*/ 80 w 212"/>
              <a:gd name="T75" fmla="*/ 114 h 210"/>
              <a:gd name="T76" fmla="*/ 98 w 212"/>
              <a:gd name="T77" fmla="*/ 124 h 210"/>
              <a:gd name="T78" fmla="*/ 94 w 212"/>
              <a:gd name="T79" fmla="*/ 145 h 210"/>
              <a:gd name="T80" fmla="*/ 86 w 212"/>
              <a:gd name="T81" fmla="*/ 165 h 210"/>
              <a:gd name="T82" fmla="*/ 67 w 212"/>
              <a:gd name="T83" fmla="*/ 210 h 210"/>
              <a:gd name="T84" fmla="*/ 77 w 212"/>
              <a:gd name="T85" fmla="*/ 210 h 210"/>
              <a:gd name="T86" fmla="*/ 89 w 212"/>
              <a:gd name="T87" fmla="*/ 202 h 210"/>
              <a:gd name="T88" fmla="*/ 101 w 212"/>
              <a:gd name="T89" fmla="*/ 186 h 210"/>
              <a:gd name="T90" fmla="*/ 108 w 212"/>
              <a:gd name="T91" fmla="*/ 177 h 210"/>
              <a:gd name="T92" fmla="*/ 118 w 212"/>
              <a:gd name="T93" fmla="*/ 177 h 210"/>
              <a:gd name="T94" fmla="*/ 118 w 212"/>
              <a:gd name="T95" fmla="*/ 177 h 210"/>
              <a:gd name="T96" fmla="*/ 123 w 212"/>
              <a:gd name="T97" fmla="*/ 171 h 210"/>
              <a:gd name="T98" fmla="*/ 117 w 212"/>
              <a:gd name="T99" fmla="*/ 165 h 210"/>
              <a:gd name="T100" fmla="*/ 117 w 212"/>
              <a:gd name="T101" fmla="*/ 165 h 210"/>
              <a:gd name="T102" fmla="*/ 131 w 212"/>
              <a:gd name="T103" fmla="*/ 145 h 210"/>
              <a:gd name="T104" fmla="*/ 141 w 212"/>
              <a:gd name="T105" fmla="*/ 145 h 210"/>
              <a:gd name="T106" fmla="*/ 141 w 212"/>
              <a:gd name="T107" fmla="*/ 145 h 210"/>
              <a:gd name="T108" fmla="*/ 146 w 212"/>
              <a:gd name="T109" fmla="*/ 139 h 210"/>
              <a:gd name="T110" fmla="*/ 140 w 212"/>
              <a:gd name="T111" fmla="*/ 133 h 210"/>
              <a:gd name="T112" fmla="*/ 153 w 212"/>
              <a:gd name="T113" fmla="*/ 116 h 210"/>
              <a:gd name="T114" fmla="*/ 198 w 212"/>
              <a:gd name="T115" fmla="*/ 112 h 210"/>
              <a:gd name="T116" fmla="*/ 212 w 212"/>
              <a:gd name="T117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2" h="210">
                <a:moveTo>
                  <a:pt x="212" y="105"/>
                </a:move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2"/>
                  <a:pt x="207" y="99"/>
                  <a:pt x="198" y="97"/>
                </a:cubicBezTo>
                <a:cubicBezTo>
                  <a:pt x="189" y="95"/>
                  <a:pt x="174" y="94"/>
                  <a:pt x="153" y="93"/>
                </a:cubicBezTo>
                <a:cubicBezTo>
                  <a:pt x="149" y="89"/>
                  <a:pt x="145" y="83"/>
                  <a:pt x="140" y="77"/>
                </a:cubicBezTo>
                <a:cubicBezTo>
                  <a:pt x="143" y="76"/>
                  <a:pt x="146" y="74"/>
                  <a:pt x="146" y="70"/>
                </a:cubicBezTo>
                <a:cubicBezTo>
                  <a:pt x="146" y="67"/>
                  <a:pt x="143" y="64"/>
                  <a:pt x="140" y="64"/>
                </a:cubicBezTo>
                <a:cubicBezTo>
                  <a:pt x="140" y="64"/>
                  <a:pt x="139" y="64"/>
                  <a:pt x="139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1" y="64"/>
                  <a:pt x="131" y="64"/>
                  <a:pt x="131" y="64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21" y="45"/>
                  <a:pt x="123" y="42"/>
                  <a:pt x="123" y="39"/>
                </a:cubicBezTo>
                <a:cubicBezTo>
                  <a:pt x="123" y="36"/>
                  <a:pt x="121" y="33"/>
                  <a:pt x="118" y="33"/>
                </a:cubicBezTo>
                <a:cubicBezTo>
                  <a:pt x="118" y="33"/>
                  <a:pt x="118" y="33"/>
                  <a:pt x="118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101" y="24"/>
                  <a:pt x="101" y="24"/>
                  <a:pt x="101" y="24"/>
                </a:cubicBezTo>
                <a:cubicBezTo>
                  <a:pt x="97" y="18"/>
                  <a:pt x="93" y="13"/>
                  <a:pt x="89" y="7"/>
                </a:cubicBezTo>
                <a:cubicBezTo>
                  <a:pt x="85" y="2"/>
                  <a:pt x="81" y="0"/>
                  <a:pt x="7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2" y="13"/>
                  <a:pt x="79" y="28"/>
                  <a:pt x="86" y="45"/>
                </a:cubicBezTo>
                <a:cubicBezTo>
                  <a:pt x="88" y="51"/>
                  <a:pt x="91" y="58"/>
                  <a:pt x="94" y="64"/>
                </a:cubicBezTo>
                <a:cubicBezTo>
                  <a:pt x="97" y="73"/>
                  <a:pt x="98" y="80"/>
                  <a:pt x="98" y="85"/>
                </a:cubicBezTo>
                <a:cubicBezTo>
                  <a:pt x="98" y="92"/>
                  <a:pt x="92" y="95"/>
                  <a:pt x="80" y="95"/>
                </a:cubicBezTo>
                <a:cubicBezTo>
                  <a:pt x="36" y="97"/>
                  <a:pt x="36" y="97"/>
                  <a:pt x="36" y="9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69"/>
                  <a:pt x="8" y="68"/>
                  <a:pt x="0" y="67"/>
                </a:cubicBezTo>
                <a:cubicBezTo>
                  <a:pt x="9" y="101"/>
                  <a:pt x="9" y="101"/>
                  <a:pt x="9" y="101"/>
                </a:cubicBezTo>
                <a:cubicBezTo>
                  <a:pt x="9" y="101"/>
                  <a:pt x="8" y="101"/>
                  <a:pt x="8" y="101"/>
                </a:cubicBezTo>
                <a:cubicBezTo>
                  <a:pt x="6" y="101"/>
                  <a:pt x="4" y="103"/>
                  <a:pt x="4" y="105"/>
                </a:cubicBezTo>
                <a:cubicBezTo>
                  <a:pt x="4" y="108"/>
                  <a:pt x="6" y="110"/>
                  <a:pt x="8" y="110"/>
                </a:cubicBezTo>
                <a:cubicBezTo>
                  <a:pt x="8" y="110"/>
                  <a:pt x="8" y="110"/>
                  <a:pt x="9" y="110"/>
                </a:cubicBezTo>
                <a:cubicBezTo>
                  <a:pt x="0" y="143"/>
                  <a:pt x="0" y="143"/>
                  <a:pt x="0" y="143"/>
                </a:cubicBezTo>
                <a:cubicBezTo>
                  <a:pt x="8" y="142"/>
                  <a:pt x="12" y="141"/>
                  <a:pt x="14" y="141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80" y="114"/>
                  <a:pt x="80" y="114"/>
                  <a:pt x="80" y="114"/>
                </a:cubicBezTo>
                <a:cubicBezTo>
                  <a:pt x="92" y="114"/>
                  <a:pt x="98" y="118"/>
                  <a:pt x="98" y="124"/>
                </a:cubicBezTo>
                <a:cubicBezTo>
                  <a:pt x="98" y="130"/>
                  <a:pt x="97" y="137"/>
                  <a:pt x="94" y="145"/>
                </a:cubicBezTo>
                <a:cubicBezTo>
                  <a:pt x="91" y="152"/>
                  <a:pt x="88" y="158"/>
                  <a:pt x="86" y="165"/>
                </a:cubicBezTo>
                <a:cubicBezTo>
                  <a:pt x="79" y="182"/>
                  <a:pt x="72" y="197"/>
                  <a:pt x="67" y="210"/>
                </a:cubicBezTo>
                <a:cubicBezTo>
                  <a:pt x="77" y="210"/>
                  <a:pt x="77" y="210"/>
                  <a:pt x="77" y="210"/>
                </a:cubicBezTo>
                <a:cubicBezTo>
                  <a:pt x="81" y="210"/>
                  <a:pt x="85" y="207"/>
                  <a:pt x="89" y="202"/>
                </a:cubicBezTo>
                <a:cubicBezTo>
                  <a:pt x="93" y="197"/>
                  <a:pt x="97" y="192"/>
                  <a:pt x="101" y="186"/>
                </a:cubicBezTo>
                <a:cubicBezTo>
                  <a:pt x="108" y="177"/>
                  <a:pt x="108" y="177"/>
                  <a:pt x="10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21" y="177"/>
                  <a:pt x="123" y="174"/>
                  <a:pt x="123" y="171"/>
                </a:cubicBezTo>
                <a:cubicBezTo>
                  <a:pt x="123" y="167"/>
                  <a:pt x="121" y="165"/>
                  <a:pt x="117" y="165"/>
                </a:cubicBezTo>
                <a:cubicBezTo>
                  <a:pt x="117" y="165"/>
                  <a:pt x="117" y="165"/>
                  <a:pt x="117" y="16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4" y="145"/>
                  <a:pt x="146" y="142"/>
                  <a:pt x="146" y="139"/>
                </a:cubicBezTo>
                <a:cubicBezTo>
                  <a:pt x="146" y="136"/>
                  <a:pt x="143" y="133"/>
                  <a:pt x="140" y="133"/>
                </a:cubicBezTo>
                <a:cubicBezTo>
                  <a:pt x="145" y="127"/>
                  <a:pt x="149" y="121"/>
                  <a:pt x="153" y="116"/>
                </a:cubicBezTo>
                <a:cubicBezTo>
                  <a:pt x="174" y="116"/>
                  <a:pt x="189" y="115"/>
                  <a:pt x="198" y="112"/>
                </a:cubicBezTo>
                <a:cubicBezTo>
                  <a:pt x="207" y="110"/>
                  <a:pt x="212" y="108"/>
                  <a:pt x="212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1" name="Freeform 31"/>
          <p:cNvSpPr>
            <a:spLocks noChangeAspect="1" noEditPoints="1"/>
          </p:cNvSpPr>
          <p:nvPr/>
        </p:nvSpPr>
        <p:spPr bwMode="auto">
          <a:xfrm>
            <a:off x="7598239" y="2417032"/>
            <a:ext cx="230217" cy="296655"/>
          </a:xfrm>
          <a:custGeom>
            <a:avLst/>
            <a:gdLst>
              <a:gd name="T0" fmla="*/ 12 w 140"/>
              <a:gd name="T1" fmla="*/ 35 h 180"/>
              <a:gd name="T2" fmla="*/ 35 w 140"/>
              <a:gd name="T3" fmla="*/ 12 h 180"/>
              <a:gd name="T4" fmla="*/ 34 w 140"/>
              <a:gd name="T5" fmla="*/ 5 h 180"/>
              <a:gd name="T6" fmla="*/ 32 w 140"/>
              <a:gd name="T7" fmla="*/ 2 h 180"/>
              <a:gd name="T8" fmla="*/ 25 w 140"/>
              <a:gd name="T9" fmla="*/ 2 h 180"/>
              <a:gd name="T10" fmla="*/ 2 w 140"/>
              <a:gd name="T11" fmla="*/ 26 h 180"/>
              <a:gd name="T12" fmla="*/ 2 w 140"/>
              <a:gd name="T13" fmla="*/ 33 h 180"/>
              <a:gd name="T14" fmla="*/ 5 w 140"/>
              <a:gd name="T15" fmla="*/ 35 h 180"/>
              <a:gd name="T16" fmla="*/ 12 w 140"/>
              <a:gd name="T17" fmla="*/ 35 h 180"/>
              <a:gd name="T18" fmla="*/ 134 w 140"/>
              <a:gd name="T19" fmla="*/ 1 h 180"/>
              <a:gd name="T20" fmla="*/ 62 w 140"/>
              <a:gd name="T21" fmla="*/ 1 h 180"/>
              <a:gd name="T22" fmla="*/ 51 w 140"/>
              <a:gd name="T23" fmla="*/ 5 h 180"/>
              <a:gd name="T24" fmla="*/ 11 w 140"/>
              <a:gd name="T25" fmla="*/ 47 h 180"/>
              <a:gd name="T26" fmla="*/ 6 w 140"/>
              <a:gd name="T27" fmla="*/ 58 h 180"/>
              <a:gd name="T28" fmla="*/ 6 w 140"/>
              <a:gd name="T29" fmla="*/ 174 h 180"/>
              <a:gd name="T30" fmla="*/ 12 w 140"/>
              <a:gd name="T31" fmla="*/ 180 h 180"/>
              <a:gd name="T32" fmla="*/ 134 w 140"/>
              <a:gd name="T33" fmla="*/ 180 h 180"/>
              <a:gd name="T34" fmla="*/ 140 w 140"/>
              <a:gd name="T35" fmla="*/ 174 h 180"/>
              <a:gd name="T36" fmla="*/ 140 w 140"/>
              <a:gd name="T37" fmla="*/ 7 h 180"/>
              <a:gd name="T38" fmla="*/ 134 w 140"/>
              <a:gd name="T39" fmla="*/ 1 h 180"/>
              <a:gd name="T40" fmla="*/ 74 w 140"/>
              <a:gd name="T41" fmla="*/ 147 h 180"/>
              <a:gd name="T42" fmla="*/ 53 w 140"/>
              <a:gd name="T43" fmla="*/ 126 h 180"/>
              <a:gd name="T44" fmla="*/ 54 w 140"/>
              <a:gd name="T45" fmla="*/ 119 h 180"/>
              <a:gd name="T46" fmla="*/ 54 w 140"/>
              <a:gd name="T47" fmla="*/ 119 h 180"/>
              <a:gd name="T48" fmla="*/ 59 w 140"/>
              <a:gd name="T49" fmla="*/ 105 h 180"/>
              <a:gd name="T50" fmla="*/ 74 w 140"/>
              <a:gd name="T51" fmla="*/ 80 h 180"/>
              <a:gd name="T52" fmla="*/ 89 w 140"/>
              <a:gd name="T53" fmla="*/ 105 h 180"/>
              <a:gd name="T54" fmla="*/ 94 w 140"/>
              <a:gd name="T55" fmla="*/ 119 h 180"/>
              <a:gd name="T56" fmla="*/ 94 w 140"/>
              <a:gd name="T57" fmla="*/ 119 h 180"/>
              <a:gd name="T58" fmla="*/ 96 w 140"/>
              <a:gd name="T59" fmla="*/ 126 h 180"/>
              <a:gd name="T60" fmla="*/ 74 w 140"/>
              <a:gd name="T61" fmla="*/ 147 h 180"/>
              <a:gd name="T62" fmla="*/ 124 w 140"/>
              <a:gd name="T63" fmla="*/ 30 h 180"/>
              <a:gd name="T64" fmla="*/ 118 w 140"/>
              <a:gd name="T65" fmla="*/ 37 h 180"/>
              <a:gd name="T66" fmla="*/ 72 w 140"/>
              <a:gd name="T67" fmla="*/ 37 h 180"/>
              <a:gd name="T68" fmla="*/ 65 w 140"/>
              <a:gd name="T69" fmla="*/ 30 h 180"/>
              <a:gd name="T70" fmla="*/ 65 w 140"/>
              <a:gd name="T71" fmla="*/ 22 h 180"/>
              <a:gd name="T72" fmla="*/ 72 w 140"/>
              <a:gd name="T73" fmla="*/ 16 h 180"/>
              <a:gd name="T74" fmla="*/ 118 w 140"/>
              <a:gd name="T75" fmla="*/ 16 h 180"/>
              <a:gd name="T76" fmla="*/ 124 w 140"/>
              <a:gd name="T77" fmla="*/ 22 h 180"/>
              <a:gd name="T78" fmla="*/ 124 w 140"/>
              <a:gd name="T79" fmla="*/ 30 h 180"/>
              <a:gd name="T80" fmla="*/ 85 w 140"/>
              <a:gd name="T81" fmla="*/ 116 h 180"/>
              <a:gd name="T82" fmla="*/ 80 w 140"/>
              <a:gd name="T83" fmla="*/ 126 h 180"/>
              <a:gd name="T84" fmla="*/ 85 w 140"/>
              <a:gd name="T85" fmla="*/ 136 h 180"/>
              <a:gd name="T86" fmla="*/ 89 w 140"/>
              <a:gd name="T87" fmla="*/ 126 h 180"/>
              <a:gd name="T88" fmla="*/ 85 w 140"/>
              <a:gd name="T89" fmla="*/ 11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0" h="180">
                <a:moveTo>
                  <a:pt x="12" y="35"/>
                </a:moveTo>
                <a:cubicBezTo>
                  <a:pt x="35" y="12"/>
                  <a:pt x="35" y="12"/>
                  <a:pt x="35" y="12"/>
                </a:cubicBezTo>
                <a:cubicBezTo>
                  <a:pt x="36" y="10"/>
                  <a:pt x="36" y="7"/>
                  <a:pt x="34" y="5"/>
                </a:cubicBezTo>
                <a:cubicBezTo>
                  <a:pt x="32" y="2"/>
                  <a:pt x="32" y="2"/>
                  <a:pt x="32" y="2"/>
                </a:cubicBezTo>
                <a:cubicBezTo>
                  <a:pt x="30" y="0"/>
                  <a:pt x="27" y="0"/>
                  <a:pt x="25" y="2"/>
                </a:cubicBezTo>
                <a:cubicBezTo>
                  <a:pt x="2" y="26"/>
                  <a:pt x="2" y="26"/>
                  <a:pt x="2" y="26"/>
                </a:cubicBezTo>
                <a:cubicBezTo>
                  <a:pt x="0" y="28"/>
                  <a:pt x="0" y="31"/>
                  <a:pt x="2" y="33"/>
                </a:cubicBezTo>
                <a:cubicBezTo>
                  <a:pt x="5" y="35"/>
                  <a:pt x="5" y="35"/>
                  <a:pt x="5" y="35"/>
                </a:cubicBezTo>
                <a:cubicBezTo>
                  <a:pt x="7" y="37"/>
                  <a:pt x="10" y="37"/>
                  <a:pt x="12" y="35"/>
                </a:cubicBezTo>
                <a:close/>
                <a:moveTo>
                  <a:pt x="134" y="1"/>
                </a:moveTo>
                <a:cubicBezTo>
                  <a:pt x="62" y="1"/>
                  <a:pt x="62" y="1"/>
                  <a:pt x="62" y="1"/>
                </a:cubicBezTo>
                <a:cubicBezTo>
                  <a:pt x="58" y="1"/>
                  <a:pt x="54" y="3"/>
                  <a:pt x="51" y="5"/>
                </a:cubicBezTo>
                <a:cubicBezTo>
                  <a:pt x="11" y="47"/>
                  <a:pt x="11" y="47"/>
                  <a:pt x="11" y="47"/>
                </a:cubicBezTo>
                <a:cubicBezTo>
                  <a:pt x="8" y="50"/>
                  <a:pt x="6" y="54"/>
                  <a:pt x="6" y="58"/>
                </a:cubicBezTo>
                <a:cubicBezTo>
                  <a:pt x="6" y="174"/>
                  <a:pt x="6" y="174"/>
                  <a:pt x="6" y="174"/>
                </a:cubicBezTo>
                <a:cubicBezTo>
                  <a:pt x="6" y="177"/>
                  <a:pt x="9" y="180"/>
                  <a:pt x="12" y="180"/>
                </a:cubicBezTo>
                <a:cubicBezTo>
                  <a:pt x="134" y="180"/>
                  <a:pt x="134" y="180"/>
                  <a:pt x="134" y="180"/>
                </a:cubicBezTo>
                <a:cubicBezTo>
                  <a:pt x="137" y="180"/>
                  <a:pt x="140" y="177"/>
                  <a:pt x="140" y="174"/>
                </a:cubicBezTo>
                <a:cubicBezTo>
                  <a:pt x="140" y="7"/>
                  <a:pt x="140" y="7"/>
                  <a:pt x="140" y="7"/>
                </a:cubicBezTo>
                <a:cubicBezTo>
                  <a:pt x="140" y="4"/>
                  <a:pt x="137" y="1"/>
                  <a:pt x="134" y="1"/>
                </a:cubicBezTo>
                <a:close/>
                <a:moveTo>
                  <a:pt x="74" y="147"/>
                </a:moveTo>
                <a:cubicBezTo>
                  <a:pt x="62" y="147"/>
                  <a:pt x="53" y="137"/>
                  <a:pt x="53" y="126"/>
                </a:cubicBezTo>
                <a:cubicBezTo>
                  <a:pt x="53" y="123"/>
                  <a:pt x="53" y="121"/>
                  <a:pt x="54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5" y="114"/>
                  <a:pt x="57" y="110"/>
                  <a:pt x="59" y="105"/>
                </a:cubicBezTo>
                <a:cubicBezTo>
                  <a:pt x="64" y="94"/>
                  <a:pt x="69" y="86"/>
                  <a:pt x="74" y="80"/>
                </a:cubicBezTo>
                <a:cubicBezTo>
                  <a:pt x="79" y="86"/>
                  <a:pt x="84" y="94"/>
                  <a:pt x="89" y="105"/>
                </a:cubicBezTo>
                <a:cubicBezTo>
                  <a:pt x="91" y="110"/>
                  <a:pt x="93" y="114"/>
                  <a:pt x="94" y="119"/>
                </a:cubicBezTo>
                <a:cubicBezTo>
                  <a:pt x="94" y="119"/>
                  <a:pt x="94" y="119"/>
                  <a:pt x="94" y="119"/>
                </a:cubicBezTo>
                <a:cubicBezTo>
                  <a:pt x="95" y="121"/>
                  <a:pt x="96" y="123"/>
                  <a:pt x="96" y="126"/>
                </a:cubicBezTo>
                <a:cubicBezTo>
                  <a:pt x="96" y="137"/>
                  <a:pt x="86" y="147"/>
                  <a:pt x="74" y="147"/>
                </a:cubicBezTo>
                <a:close/>
                <a:moveTo>
                  <a:pt x="124" y="30"/>
                </a:moveTo>
                <a:cubicBezTo>
                  <a:pt x="124" y="34"/>
                  <a:pt x="122" y="37"/>
                  <a:pt x="118" y="37"/>
                </a:cubicBezTo>
                <a:cubicBezTo>
                  <a:pt x="72" y="37"/>
                  <a:pt x="72" y="37"/>
                  <a:pt x="72" y="37"/>
                </a:cubicBezTo>
                <a:cubicBezTo>
                  <a:pt x="68" y="37"/>
                  <a:pt x="65" y="34"/>
                  <a:pt x="65" y="30"/>
                </a:cubicBezTo>
                <a:cubicBezTo>
                  <a:pt x="65" y="22"/>
                  <a:pt x="65" y="22"/>
                  <a:pt x="65" y="22"/>
                </a:cubicBezTo>
                <a:cubicBezTo>
                  <a:pt x="65" y="19"/>
                  <a:pt x="68" y="16"/>
                  <a:pt x="72" y="16"/>
                </a:cubicBezTo>
                <a:cubicBezTo>
                  <a:pt x="118" y="16"/>
                  <a:pt x="118" y="16"/>
                  <a:pt x="118" y="16"/>
                </a:cubicBezTo>
                <a:cubicBezTo>
                  <a:pt x="122" y="16"/>
                  <a:pt x="124" y="19"/>
                  <a:pt x="124" y="22"/>
                </a:cubicBezTo>
                <a:lnTo>
                  <a:pt x="124" y="30"/>
                </a:lnTo>
                <a:close/>
                <a:moveTo>
                  <a:pt x="85" y="116"/>
                </a:moveTo>
                <a:cubicBezTo>
                  <a:pt x="82" y="116"/>
                  <a:pt x="80" y="120"/>
                  <a:pt x="80" y="126"/>
                </a:cubicBezTo>
                <a:cubicBezTo>
                  <a:pt x="80" y="131"/>
                  <a:pt x="82" y="136"/>
                  <a:pt x="85" y="136"/>
                </a:cubicBezTo>
                <a:cubicBezTo>
                  <a:pt x="87" y="136"/>
                  <a:pt x="89" y="131"/>
                  <a:pt x="89" y="126"/>
                </a:cubicBezTo>
                <a:cubicBezTo>
                  <a:pt x="89" y="120"/>
                  <a:pt x="87" y="116"/>
                  <a:pt x="85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53" name="Freeform 62"/>
          <p:cNvSpPr>
            <a:spLocks noChangeAspect="1" noEditPoints="1"/>
          </p:cNvSpPr>
          <p:nvPr/>
        </p:nvSpPr>
        <p:spPr bwMode="auto">
          <a:xfrm>
            <a:off x="7558001" y="5030738"/>
            <a:ext cx="310688" cy="287197"/>
          </a:xfrm>
          <a:custGeom>
            <a:avLst/>
            <a:gdLst>
              <a:gd name="T0" fmla="*/ 33 w 195"/>
              <a:gd name="T1" fmla="*/ 62 h 180"/>
              <a:gd name="T2" fmla="*/ 74 w 195"/>
              <a:gd name="T3" fmla="*/ 18 h 180"/>
              <a:gd name="T4" fmla="*/ 102 w 195"/>
              <a:gd name="T5" fmla="*/ 45 h 180"/>
              <a:gd name="T6" fmla="*/ 61 w 195"/>
              <a:gd name="T7" fmla="*/ 88 h 180"/>
              <a:gd name="T8" fmla="*/ 33 w 195"/>
              <a:gd name="T9" fmla="*/ 62 h 180"/>
              <a:gd name="T10" fmla="*/ 107 w 195"/>
              <a:gd name="T11" fmla="*/ 41 h 180"/>
              <a:gd name="T12" fmla="*/ 114 w 195"/>
              <a:gd name="T13" fmla="*/ 41 h 180"/>
              <a:gd name="T14" fmla="*/ 117 w 195"/>
              <a:gd name="T15" fmla="*/ 38 h 180"/>
              <a:gd name="T16" fmla="*/ 117 w 195"/>
              <a:gd name="T17" fmla="*/ 30 h 180"/>
              <a:gd name="T18" fmla="*/ 87 w 195"/>
              <a:gd name="T19" fmla="*/ 2 h 180"/>
              <a:gd name="T20" fmla="*/ 80 w 195"/>
              <a:gd name="T21" fmla="*/ 3 h 180"/>
              <a:gd name="T22" fmla="*/ 77 w 195"/>
              <a:gd name="T23" fmla="*/ 6 h 180"/>
              <a:gd name="T24" fmla="*/ 77 w 195"/>
              <a:gd name="T25" fmla="*/ 13 h 180"/>
              <a:gd name="T26" fmla="*/ 107 w 195"/>
              <a:gd name="T27" fmla="*/ 41 h 180"/>
              <a:gd name="T28" fmla="*/ 47 w 195"/>
              <a:gd name="T29" fmla="*/ 104 h 180"/>
              <a:gd name="T30" fmla="*/ 55 w 195"/>
              <a:gd name="T31" fmla="*/ 104 h 180"/>
              <a:gd name="T32" fmla="*/ 58 w 195"/>
              <a:gd name="T33" fmla="*/ 101 h 180"/>
              <a:gd name="T34" fmla="*/ 57 w 195"/>
              <a:gd name="T35" fmla="*/ 93 h 180"/>
              <a:gd name="T36" fmla="*/ 28 w 195"/>
              <a:gd name="T37" fmla="*/ 65 h 180"/>
              <a:gd name="T38" fmla="*/ 20 w 195"/>
              <a:gd name="T39" fmla="*/ 66 h 180"/>
              <a:gd name="T40" fmla="*/ 17 w 195"/>
              <a:gd name="T41" fmla="*/ 69 h 180"/>
              <a:gd name="T42" fmla="*/ 18 w 195"/>
              <a:gd name="T43" fmla="*/ 76 h 180"/>
              <a:gd name="T44" fmla="*/ 47 w 195"/>
              <a:gd name="T45" fmla="*/ 104 h 180"/>
              <a:gd name="T46" fmla="*/ 80 w 195"/>
              <a:gd name="T47" fmla="*/ 77 h 180"/>
              <a:gd name="T48" fmla="*/ 177 w 195"/>
              <a:gd name="T49" fmla="*/ 169 h 180"/>
              <a:gd name="T50" fmla="*/ 189 w 195"/>
              <a:gd name="T51" fmla="*/ 171 h 180"/>
              <a:gd name="T52" fmla="*/ 193 w 195"/>
              <a:gd name="T53" fmla="*/ 167 h 180"/>
              <a:gd name="T54" fmla="*/ 190 w 195"/>
              <a:gd name="T55" fmla="*/ 156 h 180"/>
              <a:gd name="T56" fmla="*/ 92 w 195"/>
              <a:gd name="T57" fmla="*/ 64 h 180"/>
              <a:gd name="T58" fmla="*/ 80 w 195"/>
              <a:gd name="T59" fmla="*/ 77 h 180"/>
              <a:gd name="T60" fmla="*/ 113 w 195"/>
              <a:gd name="T61" fmla="*/ 168 h 180"/>
              <a:gd name="T62" fmla="*/ 111 w 195"/>
              <a:gd name="T63" fmla="*/ 166 h 180"/>
              <a:gd name="T64" fmla="*/ 3 w 195"/>
              <a:gd name="T65" fmla="*/ 166 h 180"/>
              <a:gd name="T66" fmla="*/ 0 w 195"/>
              <a:gd name="T67" fmla="*/ 168 h 180"/>
              <a:gd name="T68" fmla="*/ 0 w 195"/>
              <a:gd name="T69" fmla="*/ 178 h 180"/>
              <a:gd name="T70" fmla="*/ 3 w 195"/>
              <a:gd name="T71" fmla="*/ 180 h 180"/>
              <a:gd name="T72" fmla="*/ 111 w 195"/>
              <a:gd name="T73" fmla="*/ 180 h 180"/>
              <a:gd name="T74" fmla="*/ 113 w 195"/>
              <a:gd name="T75" fmla="*/ 178 h 180"/>
              <a:gd name="T76" fmla="*/ 113 w 195"/>
              <a:gd name="T77" fmla="*/ 168 h 180"/>
              <a:gd name="T78" fmla="*/ 25 w 195"/>
              <a:gd name="T79" fmla="*/ 148 h 180"/>
              <a:gd name="T80" fmla="*/ 89 w 195"/>
              <a:gd name="T81" fmla="*/ 148 h 180"/>
              <a:gd name="T82" fmla="*/ 96 w 195"/>
              <a:gd name="T83" fmla="*/ 154 h 180"/>
              <a:gd name="T84" fmla="*/ 96 w 195"/>
              <a:gd name="T85" fmla="*/ 160 h 180"/>
              <a:gd name="T86" fmla="*/ 17 w 195"/>
              <a:gd name="T87" fmla="*/ 160 h 180"/>
              <a:gd name="T88" fmla="*/ 17 w 195"/>
              <a:gd name="T89" fmla="*/ 154 h 180"/>
              <a:gd name="T90" fmla="*/ 25 w 195"/>
              <a:gd name="T91" fmla="*/ 14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5" h="180">
                <a:moveTo>
                  <a:pt x="33" y="62"/>
                </a:moveTo>
                <a:cubicBezTo>
                  <a:pt x="74" y="18"/>
                  <a:pt x="74" y="18"/>
                  <a:pt x="74" y="18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61" y="88"/>
                  <a:pt x="61" y="88"/>
                  <a:pt x="61" y="88"/>
                </a:cubicBezTo>
                <a:lnTo>
                  <a:pt x="33" y="62"/>
                </a:lnTo>
                <a:close/>
                <a:moveTo>
                  <a:pt x="107" y="41"/>
                </a:moveTo>
                <a:cubicBezTo>
                  <a:pt x="109" y="43"/>
                  <a:pt x="112" y="43"/>
                  <a:pt x="114" y="41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9" y="35"/>
                  <a:pt x="119" y="32"/>
                  <a:pt x="117" y="30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0"/>
                  <a:pt x="82" y="0"/>
                  <a:pt x="80" y="3"/>
                </a:cubicBezTo>
                <a:cubicBezTo>
                  <a:pt x="77" y="6"/>
                  <a:pt x="77" y="6"/>
                  <a:pt x="77" y="6"/>
                </a:cubicBezTo>
                <a:cubicBezTo>
                  <a:pt x="75" y="8"/>
                  <a:pt x="75" y="11"/>
                  <a:pt x="77" y="13"/>
                </a:cubicBezTo>
                <a:lnTo>
                  <a:pt x="107" y="41"/>
                </a:lnTo>
                <a:close/>
                <a:moveTo>
                  <a:pt x="47" y="104"/>
                </a:moveTo>
                <a:cubicBezTo>
                  <a:pt x="49" y="106"/>
                  <a:pt x="53" y="106"/>
                  <a:pt x="55" y="104"/>
                </a:cubicBezTo>
                <a:cubicBezTo>
                  <a:pt x="58" y="101"/>
                  <a:pt x="58" y="101"/>
                  <a:pt x="58" y="101"/>
                </a:cubicBezTo>
                <a:cubicBezTo>
                  <a:pt x="60" y="99"/>
                  <a:pt x="60" y="95"/>
                  <a:pt x="57" y="93"/>
                </a:cubicBezTo>
                <a:cubicBezTo>
                  <a:pt x="28" y="65"/>
                  <a:pt x="28" y="65"/>
                  <a:pt x="28" y="65"/>
                </a:cubicBezTo>
                <a:cubicBezTo>
                  <a:pt x="26" y="63"/>
                  <a:pt x="22" y="64"/>
                  <a:pt x="20" y="66"/>
                </a:cubicBezTo>
                <a:cubicBezTo>
                  <a:pt x="17" y="69"/>
                  <a:pt x="17" y="69"/>
                  <a:pt x="17" y="69"/>
                </a:cubicBezTo>
                <a:cubicBezTo>
                  <a:pt x="15" y="71"/>
                  <a:pt x="15" y="74"/>
                  <a:pt x="18" y="76"/>
                </a:cubicBezTo>
                <a:lnTo>
                  <a:pt x="47" y="104"/>
                </a:lnTo>
                <a:close/>
                <a:moveTo>
                  <a:pt x="80" y="77"/>
                </a:moveTo>
                <a:cubicBezTo>
                  <a:pt x="177" y="169"/>
                  <a:pt x="177" y="169"/>
                  <a:pt x="177" y="169"/>
                </a:cubicBezTo>
                <a:cubicBezTo>
                  <a:pt x="181" y="172"/>
                  <a:pt x="186" y="174"/>
                  <a:pt x="189" y="171"/>
                </a:cubicBezTo>
                <a:cubicBezTo>
                  <a:pt x="193" y="167"/>
                  <a:pt x="193" y="167"/>
                  <a:pt x="193" y="167"/>
                </a:cubicBezTo>
                <a:cubicBezTo>
                  <a:pt x="195" y="164"/>
                  <a:pt x="194" y="159"/>
                  <a:pt x="190" y="156"/>
                </a:cubicBezTo>
                <a:cubicBezTo>
                  <a:pt x="92" y="64"/>
                  <a:pt x="92" y="64"/>
                  <a:pt x="92" y="64"/>
                </a:cubicBezTo>
                <a:lnTo>
                  <a:pt x="80" y="77"/>
                </a:lnTo>
                <a:close/>
                <a:moveTo>
                  <a:pt x="113" y="168"/>
                </a:moveTo>
                <a:cubicBezTo>
                  <a:pt x="113" y="167"/>
                  <a:pt x="112" y="166"/>
                  <a:pt x="111" y="166"/>
                </a:cubicBezTo>
                <a:cubicBezTo>
                  <a:pt x="3" y="166"/>
                  <a:pt x="3" y="166"/>
                  <a:pt x="3" y="166"/>
                </a:cubicBezTo>
                <a:cubicBezTo>
                  <a:pt x="1" y="166"/>
                  <a:pt x="0" y="167"/>
                  <a:pt x="0" y="168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79"/>
                  <a:pt x="1" y="180"/>
                  <a:pt x="3" y="180"/>
                </a:cubicBezTo>
                <a:cubicBezTo>
                  <a:pt x="111" y="180"/>
                  <a:pt x="111" y="180"/>
                  <a:pt x="111" y="180"/>
                </a:cubicBezTo>
                <a:cubicBezTo>
                  <a:pt x="112" y="180"/>
                  <a:pt x="113" y="179"/>
                  <a:pt x="113" y="178"/>
                </a:cubicBezTo>
                <a:lnTo>
                  <a:pt x="113" y="168"/>
                </a:lnTo>
                <a:close/>
                <a:moveTo>
                  <a:pt x="25" y="148"/>
                </a:moveTo>
                <a:cubicBezTo>
                  <a:pt x="89" y="148"/>
                  <a:pt x="89" y="148"/>
                  <a:pt x="89" y="148"/>
                </a:cubicBezTo>
                <a:cubicBezTo>
                  <a:pt x="92" y="148"/>
                  <a:pt x="95" y="151"/>
                  <a:pt x="96" y="154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17" y="160"/>
                  <a:pt x="17" y="160"/>
                  <a:pt x="17" y="160"/>
                </a:cubicBezTo>
                <a:cubicBezTo>
                  <a:pt x="17" y="154"/>
                  <a:pt x="17" y="154"/>
                  <a:pt x="17" y="154"/>
                </a:cubicBezTo>
                <a:cubicBezTo>
                  <a:pt x="18" y="151"/>
                  <a:pt x="21" y="148"/>
                  <a:pt x="25" y="1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grpSp>
        <p:nvGrpSpPr>
          <p:cNvPr id="55" name="Group 54"/>
          <p:cNvGrpSpPr/>
          <p:nvPr/>
        </p:nvGrpSpPr>
        <p:grpSpPr>
          <a:xfrm>
            <a:off x="4292645" y="5014255"/>
            <a:ext cx="362495" cy="349611"/>
            <a:chOff x="2185477" y="5525527"/>
            <a:chExt cx="523177" cy="504582"/>
          </a:xfrm>
        </p:grpSpPr>
        <p:sp>
          <p:nvSpPr>
            <p:cNvPr id="56" name="Freeform 33"/>
            <p:cNvSpPr>
              <a:spLocks noChangeAspect="1" noEditPoints="1"/>
            </p:cNvSpPr>
            <p:nvPr/>
          </p:nvSpPr>
          <p:spPr bwMode="auto">
            <a:xfrm>
              <a:off x="2234420" y="5525527"/>
              <a:ext cx="333534" cy="337026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7" name="Freeform 33"/>
            <p:cNvSpPr>
              <a:spLocks noChangeAspect="1" noEditPoints="1"/>
            </p:cNvSpPr>
            <p:nvPr/>
          </p:nvSpPr>
          <p:spPr bwMode="auto">
            <a:xfrm>
              <a:off x="2536194" y="5733047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8" name="Freeform 33"/>
            <p:cNvSpPr>
              <a:spLocks noChangeAspect="1" noEditPoints="1"/>
            </p:cNvSpPr>
            <p:nvPr/>
          </p:nvSpPr>
          <p:spPr bwMode="auto">
            <a:xfrm>
              <a:off x="2382756" y="5855842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9" name="Freeform 33"/>
            <p:cNvSpPr>
              <a:spLocks noChangeAspect="1" noEditPoints="1"/>
            </p:cNvSpPr>
            <p:nvPr/>
          </p:nvSpPr>
          <p:spPr bwMode="auto">
            <a:xfrm>
              <a:off x="2185477" y="5825960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99" name="Freeform 917"/>
          <p:cNvSpPr>
            <a:spLocks noChangeAspect="1" noEditPoints="1"/>
          </p:cNvSpPr>
          <p:nvPr/>
        </p:nvSpPr>
        <p:spPr bwMode="auto">
          <a:xfrm>
            <a:off x="7427486" y="2300218"/>
            <a:ext cx="528486" cy="530040"/>
          </a:xfrm>
          <a:custGeom>
            <a:avLst/>
            <a:gdLst>
              <a:gd name="T0" fmla="*/ 277 w 512"/>
              <a:gd name="T1" fmla="*/ 138 h 512"/>
              <a:gd name="T2" fmla="*/ 277 w 512"/>
              <a:gd name="T3" fmla="*/ 245 h 512"/>
              <a:gd name="T4" fmla="*/ 234 w 512"/>
              <a:gd name="T5" fmla="*/ 245 h 512"/>
              <a:gd name="T6" fmla="*/ 234 w 512"/>
              <a:gd name="T7" fmla="*/ 138 h 512"/>
              <a:gd name="T8" fmla="*/ 256 w 512"/>
              <a:gd name="T9" fmla="*/ 117 h 512"/>
              <a:gd name="T10" fmla="*/ 277 w 512"/>
              <a:gd name="T11" fmla="*/ 138 h 512"/>
              <a:gd name="T12" fmla="*/ 512 w 512"/>
              <a:gd name="T13" fmla="*/ 256 h 512"/>
              <a:gd name="T14" fmla="*/ 256 w 512"/>
              <a:gd name="T15" fmla="*/ 512 h 512"/>
              <a:gd name="T16" fmla="*/ 0 w 512"/>
              <a:gd name="T17" fmla="*/ 256 h 512"/>
              <a:gd name="T18" fmla="*/ 256 w 512"/>
              <a:gd name="T19" fmla="*/ 0 h 512"/>
              <a:gd name="T20" fmla="*/ 512 w 512"/>
              <a:gd name="T21" fmla="*/ 256 h 512"/>
              <a:gd name="T22" fmla="*/ 298 w 512"/>
              <a:gd name="T23" fmla="*/ 138 h 512"/>
              <a:gd name="T24" fmla="*/ 256 w 512"/>
              <a:gd name="T25" fmla="*/ 96 h 512"/>
              <a:gd name="T26" fmla="*/ 213 w 512"/>
              <a:gd name="T27" fmla="*/ 138 h 512"/>
              <a:gd name="T28" fmla="*/ 213 w 512"/>
              <a:gd name="T29" fmla="*/ 256 h 512"/>
              <a:gd name="T30" fmla="*/ 224 w 512"/>
              <a:gd name="T31" fmla="*/ 266 h 512"/>
              <a:gd name="T32" fmla="*/ 245 w 512"/>
              <a:gd name="T33" fmla="*/ 266 h 512"/>
              <a:gd name="T34" fmla="*/ 245 w 512"/>
              <a:gd name="T35" fmla="*/ 373 h 512"/>
              <a:gd name="T36" fmla="*/ 236 w 512"/>
              <a:gd name="T37" fmla="*/ 378 h 512"/>
              <a:gd name="T38" fmla="*/ 235 w 512"/>
              <a:gd name="T39" fmla="*/ 388 h 512"/>
              <a:gd name="T40" fmla="*/ 246 w 512"/>
              <a:gd name="T41" fmla="*/ 410 h 512"/>
              <a:gd name="T42" fmla="*/ 256 w 512"/>
              <a:gd name="T43" fmla="*/ 416 h 512"/>
              <a:gd name="T44" fmla="*/ 265 w 512"/>
              <a:gd name="T45" fmla="*/ 410 h 512"/>
              <a:gd name="T46" fmla="*/ 276 w 512"/>
              <a:gd name="T47" fmla="*/ 388 h 512"/>
              <a:gd name="T48" fmla="*/ 275 w 512"/>
              <a:gd name="T49" fmla="*/ 378 h 512"/>
              <a:gd name="T50" fmla="*/ 266 w 512"/>
              <a:gd name="T51" fmla="*/ 373 h 512"/>
              <a:gd name="T52" fmla="*/ 266 w 512"/>
              <a:gd name="T53" fmla="*/ 266 h 512"/>
              <a:gd name="T54" fmla="*/ 288 w 512"/>
              <a:gd name="T55" fmla="*/ 266 h 512"/>
              <a:gd name="T56" fmla="*/ 298 w 512"/>
              <a:gd name="T57" fmla="*/ 256 h 512"/>
              <a:gd name="T58" fmla="*/ 298 w 512"/>
              <a:gd name="T59" fmla="*/ 13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77" y="138"/>
                </a:moveTo>
                <a:cubicBezTo>
                  <a:pt x="277" y="245"/>
                  <a:pt x="277" y="245"/>
                  <a:pt x="277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34" y="127"/>
                  <a:pt x="244" y="117"/>
                  <a:pt x="256" y="117"/>
                </a:cubicBezTo>
                <a:cubicBezTo>
                  <a:pt x="267" y="117"/>
                  <a:pt x="277" y="127"/>
                  <a:pt x="277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98" y="138"/>
                </a:moveTo>
                <a:cubicBezTo>
                  <a:pt x="298" y="115"/>
                  <a:pt x="279" y="96"/>
                  <a:pt x="256" y="96"/>
                </a:cubicBezTo>
                <a:cubicBezTo>
                  <a:pt x="232" y="96"/>
                  <a:pt x="213" y="115"/>
                  <a:pt x="213" y="138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3" y="262"/>
                  <a:pt x="218" y="266"/>
                  <a:pt x="224" y="266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1" y="373"/>
                  <a:pt x="238" y="375"/>
                  <a:pt x="236" y="378"/>
                </a:cubicBezTo>
                <a:cubicBezTo>
                  <a:pt x="234" y="381"/>
                  <a:pt x="234" y="385"/>
                  <a:pt x="235" y="388"/>
                </a:cubicBezTo>
                <a:cubicBezTo>
                  <a:pt x="246" y="410"/>
                  <a:pt x="246" y="410"/>
                  <a:pt x="246" y="410"/>
                </a:cubicBezTo>
                <a:cubicBezTo>
                  <a:pt x="248" y="413"/>
                  <a:pt x="252" y="416"/>
                  <a:pt x="256" y="416"/>
                </a:cubicBezTo>
                <a:cubicBezTo>
                  <a:pt x="260" y="416"/>
                  <a:pt x="263" y="413"/>
                  <a:pt x="265" y="410"/>
                </a:cubicBezTo>
                <a:cubicBezTo>
                  <a:pt x="276" y="388"/>
                  <a:pt x="276" y="388"/>
                  <a:pt x="276" y="388"/>
                </a:cubicBezTo>
                <a:cubicBezTo>
                  <a:pt x="278" y="385"/>
                  <a:pt x="277" y="381"/>
                  <a:pt x="275" y="378"/>
                </a:cubicBezTo>
                <a:cubicBezTo>
                  <a:pt x="273" y="375"/>
                  <a:pt x="270" y="373"/>
                  <a:pt x="266" y="373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62"/>
                  <a:pt x="298" y="256"/>
                </a:cubicBezTo>
                <a:lnTo>
                  <a:pt x="298" y="1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50" name="Freeform 134"/>
          <p:cNvSpPr>
            <a:spLocks noChangeAspect="1" noEditPoints="1"/>
          </p:cNvSpPr>
          <p:nvPr/>
        </p:nvSpPr>
        <p:spPr bwMode="auto">
          <a:xfrm>
            <a:off x="4213416" y="2312097"/>
            <a:ext cx="517904" cy="519426"/>
          </a:xfrm>
          <a:custGeom>
            <a:avLst/>
            <a:gdLst>
              <a:gd name="T0" fmla="*/ 256 w 512"/>
              <a:gd name="T1" fmla="*/ 128 h 512"/>
              <a:gd name="T2" fmla="*/ 234 w 512"/>
              <a:gd name="T3" fmla="*/ 128 h 512"/>
              <a:gd name="T4" fmla="*/ 234 w 512"/>
              <a:gd name="T5" fmla="*/ 117 h 512"/>
              <a:gd name="T6" fmla="*/ 256 w 512"/>
              <a:gd name="T7" fmla="*/ 117 h 512"/>
              <a:gd name="T8" fmla="*/ 256 w 512"/>
              <a:gd name="T9" fmla="*/ 128 h 512"/>
              <a:gd name="T10" fmla="*/ 192 w 512"/>
              <a:gd name="T11" fmla="*/ 164 h 512"/>
              <a:gd name="T12" fmla="*/ 149 w 512"/>
              <a:gd name="T13" fmla="*/ 180 h 512"/>
              <a:gd name="T14" fmla="*/ 149 w 512"/>
              <a:gd name="T15" fmla="*/ 192 h 512"/>
              <a:gd name="T16" fmla="*/ 298 w 512"/>
              <a:gd name="T17" fmla="*/ 192 h 512"/>
              <a:gd name="T18" fmla="*/ 298 w 512"/>
              <a:gd name="T19" fmla="*/ 149 h 512"/>
              <a:gd name="T20" fmla="*/ 201 w 512"/>
              <a:gd name="T21" fmla="*/ 149 h 512"/>
              <a:gd name="T22" fmla="*/ 192 w 512"/>
              <a:gd name="T23" fmla="*/ 164 h 512"/>
              <a:gd name="T24" fmla="*/ 234 w 512"/>
              <a:gd name="T25" fmla="*/ 394 h 512"/>
              <a:gd name="T26" fmla="*/ 256 w 512"/>
              <a:gd name="T27" fmla="*/ 394 h 512"/>
              <a:gd name="T28" fmla="*/ 256 w 512"/>
              <a:gd name="T29" fmla="*/ 213 h 512"/>
              <a:gd name="T30" fmla="*/ 234 w 512"/>
              <a:gd name="T31" fmla="*/ 213 h 512"/>
              <a:gd name="T32" fmla="*/ 234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117 h 512"/>
              <a:gd name="T46" fmla="*/ 362 w 512"/>
              <a:gd name="T47" fmla="*/ 106 h 512"/>
              <a:gd name="T48" fmla="*/ 320 w 512"/>
              <a:gd name="T49" fmla="*/ 106 h 512"/>
              <a:gd name="T50" fmla="*/ 309 w 512"/>
              <a:gd name="T51" fmla="*/ 117 h 512"/>
              <a:gd name="T52" fmla="*/ 309 w 512"/>
              <a:gd name="T53" fmla="*/ 128 h 512"/>
              <a:gd name="T54" fmla="*/ 277 w 512"/>
              <a:gd name="T55" fmla="*/ 128 h 512"/>
              <a:gd name="T56" fmla="*/ 277 w 512"/>
              <a:gd name="T57" fmla="*/ 106 h 512"/>
              <a:gd name="T58" fmla="*/ 266 w 512"/>
              <a:gd name="T59" fmla="*/ 96 h 512"/>
              <a:gd name="T60" fmla="*/ 224 w 512"/>
              <a:gd name="T61" fmla="*/ 96 h 512"/>
              <a:gd name="T62" fmla="*/ 213 w 512"/>
              <a:gd name="T63" fmla="*/ 106 h 512"/>
              <a:gd name="T64" fmla="*/ 213 w 512"/>
              <a:gd name="T65" fmla="*/ 128 h 512"/>
              <a:gd name="T66" fmla="*/ 192 w 512"/>
              <a:gd name="T67" fmla="*/ 128 h 512"/>
              <a:gd name="T68" fmla="*/ 181 w 512"/>
              <a:gd name="T69" fmla="*/ 138 h 512"/>
              <a:gd name="T70" fmla="*/ 177 w 512"/>
              <a:gd name="T71" fmla="*/ 149 h 512"/>
              <a:gd name="T72" fmla="*/ 138 w 512"/>
              <a:gd name="T73" fmla="*/ 160 h 512"/>
              <a:gd name="T74" fmla="*/ 131 w 512"/>
              <a:gd name="T75" fmla="*/ 163 h 512"/>
              <a:gd name="T76" fmla="*/ 128 w 512"/>
              <a:gd name="T77" fmla="*/ 170 h 512"/>
              <a:gd name="T78" fmla="*/ 128 w 512"/>
              <a:gd name="T79" fmla="*/ 202 h 512"/>
              <a:gd name="T80" fmla="*/ 138 w 512"/>
              <a:gd name="T81" fmla="*/ 213 h 512"/>
              <a:gd name="T82" fmla="*/ 213 w 512"/>
              <a:gd name="T83" fmla="*/ 213 h 512"/>
              <a:gd name="T84" fmla="*/ 213 w 512"/>
              <a:gd name="T85" fmla="*/ 405 h 512"/>
              <a:gd name="T86" fmla="*/ 224 w 512"/>
              <a:gd name="T87" fmla="*/ 416 h 512"/>
              <a:gd name="T88" fmla="*/ 266 w 512"/>
              <a:gd name="T89" fmla="*/ 416 h 512"/>
              <a:gd name="T90" fmla="*/ 277 w 512"/>
              <a:gd name="T91" fmla="*/ 405 h 512"/>
              <a:gd name="T92" fmla="*/ 277 w 512"/>
              <a:gd name="T93" fmla="*/ 213 h 512"/>
              <a:gd name="T94" fmla="*/ 309 w 512"/>
              <a:gd name="T95" fmla="*/ 213 h 512"/>
              <a:gd name="T96" fmla="*/ 309 w 512"/>
              <a:gd name="T97" fmla="*/ 224 h 512"/>
              <a:gd name="T98" fmla="*/ 320 w 512"/>
              <a:gd name="T99" fmla="*/ 234 h 512"/>
              <a:gd name="T100" fmla="*/ 362 w 512"/>
              <a:gd name="T101" fmla="*/ 234 h 512"/>
              <a:gd name="T102" fmla="*/ 373 w 512"/>
              <a:gd name="T103" fmla="*/ 224 h 512"/>
              <a:gd name="T104" fmla="*/ 373 w 512"/>
              <a:gd name="T105" fmla="*/ 117 h 512"/>
              <a:gd name="T106" fmla="*/ 330 w 512"/>
              <a:gd name="T107" fmla="*/ 213 h 512"/>
              <a:gd name="T108" fmla="*/ 352 w 512"/>
              <a:gd name="T109" fmla="*/ 213 h 512"/>
              <a:gd name="T110" fmla="*/ 352 w 512"/>
              <a:gd name="T111" fmla="*/ 128 h 512"/>
              <a:gd name="T112" fmla="*/ 330 w 512"/>
              <a:gd name="T113" fmla="*/ 128 h 512"/>
              <a:gd name="T114" fmla="*/ 330 w 512"/>
              <a:gd name="T11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128"/>
                </a:moveTo>
                <a:cubicBezTo>
                  <a:pt x="234" y="128"/>
                  <a:pt x="234" y="128"/>
                  <a:pt x="234" y="12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56" y="117"/>
                  <a:pt x="256" y="117"/>
                  <a:pt x="256" y="117"/>
                </a:cubicBezTo>
                <a:lnTo>
                  <a:pt x="256" y="128"/>
                </a:lnTo>
                <a:close/>
                <a:moveTo>
                  <a:pt x="192" y="164"/>
                </a:moveTo>
                <a:cubicBezTo>
                  <a:pt x="180" y="176"/>
                  <a:pt x="161" y="179"/>
                  <a:pt x="149" y="180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01" y="149"/>
                  <a:pt x="201" y="149"/>
                  <a:pt x="201" y="149"/>
                </a:cubicBezTo>
                <a:cubicBezTo>
                  <a:pt x="199" y="155"/>
                  <a:pt x="196" y="160"/>
                  <a:pt x="192" y="164"/>
                </a:cubicBezTo>
                <a:close/>
                <a:moveTo>
                  <a:pt x="234" y="394"/>
                </a:moveTo>
                <a:cubicBezTo>
                  <a:pt x="256" y="394"/>
                  <a:pt x="256" y="394"/>
                  <a:pt x="256" y="394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34" y="213"/>
                  <a:pt x="234" y="213"/>
                  <a:pt x="234" y="213"/>
                </a:cubicBezTo>
                <a:lnTo>
                  <a:pt x="234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14" y="106"/>
                  <a:pt x="309" y="111"/>
                  <a:pt x="309" y="117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277" y="128"/>
                  <a:pt x="277" y="128"/>
                  <a:pt x="277" y="128"/>
                </a:cubicBezTo>
                <a:cubicBezTo>
                  <a:pt x="277" y="106"/>
                  <a:pt x="277" y="106"/>
                  <a:pt x="277" y="106"/>
                </a:cubicBezTo>
                <a:cubicBezTo>
                  <a:pt x="277" y="100"/>
                  <a:pt x="272" y="96"/>
                  <a:pt x="266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3"/>
                  <a:pt x="180" y="146"/>
                  <a:pt x="177" y="149"/>
                </a:cubicBezTo>
                <a:cubicBezTo>
                  <a:pt x="167" y="158"/>
                  <a:pt x="146" y="160"/>
                  <a:pt x="138" y="160"/>
                </a:cubicBezTo>
                <a:cubicBezTo>
                  <a:pt x="136" y="160"/>
                  <a:pt x="133" y="161"/>
                  <a:pt x="131" y="163"/>
                </a:cubicBezTo>
                <a:cubicBezTo>
                  <a:pt x="129" y="165"/>
                  <a:pt x="128" y="167"/>
                  <a:pt x="128" y="170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28" y="208"/>
                  <a:pt x="132" y="213"/>
                  <a:pt x="138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13" y="411"/>
                  <a:pt x="218" y="416"/>
                  <a:pt x="224" y="416"/>
                </a:cubicBezTo>
                <a:cubicBezTo>
                  <a:pt x="266" y="416"/>
                  <a:pt x="266" y="416"/>
                  <a:pt x="266" y="416"/>
                </a:cubicBezTo>
                <a:cubicBezTo>
                  <a:pt x="272" y="416"/>
                  <a:pt x="277" y="411"/>
                  <a:pt x="277" y="405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9" y="230"/>
                  <a:pt x="314" y="234"/>
                  <a:pt x="320" y="234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0"/>
                  <a:pt x="373" y="224"/>
                </a:cubicBezTo>
                <a:lnTo>
                  <a:pt x="373" y="117"/>
                </a:lnTo>
                <a:close/>
                <a:moveTo>
                  <a:pt x="330" y="213"/>
                </a:moveTo>
                <a:cubicBezTo>
                  <a:pt x="352" y="213"/>
                  <a:pt x="352" y="213"/>
                  <a:pt x="352" y="213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52" name="Freeform 566"/>
          <p:cNvSpPr>
            <a:spLocks noChangeAspect="1" noEditPoints="1"/>
          </p:cNvSpPr>
          <p:nvPr/>
        </p:nvSpPr>
        <p:spPr bwMode="auto">
          <a:xfrm>
            <a:off x="4272197" y="4920584"/>
            <a:ext cx="518737" cy="518737"/>
          </a:xfrm>
          <a:custGeom>
            <a:avLst/>
            <a:gdLst>
              <a:gd name="T0" fmla="*/ 364 w 512"/>
              <a:gd name="T1" fmla="*/ 138 h 512"/>
              <a:gd name="T2" fmla="*/ 393 w 512"/>
              <a:gd name="T3" fmla="*/ 352 h 512"/>
              <a:gd name="T4" fmla="*/ 310 w 512"/>
              <a:gd name="T5" fmla="*/ 352 h 512"/>
              <a:gd name="T6" fmla="*/ 329 w 512"/>
              <a:gd name="T7" fmla="*/ 138 h 512"/>
              <a:gd name="T8" fmla="*/ 364 w 512"/>
              <a:gd name="T9" fmla="*/ 138 h 512"/>
              <a:gd name="T10" fmla="*/ 213 w 512"/>
              <a:gd name="T11" fmla="*/ 233 h 512"/>
              <a:gd name="T12" fmla="*/ 213 w 512"/>
              <a:gd name="T13" fmla="*/ 352 h 512"/>
              <a:gd name="T14" fmla="*/ 289 w 512"/>
              <a:gd name="T15" fmla="*/ 352 h 512"/>
              <a:gd name="T16" fmla="*/ 294 w 512"/>
              <a:gd name="T17" fmla="*/ 287 h 512"/>
              <a:gd name="T18" fmla="*/ 292 w 512"/>
              <a:gd name="T19" fmla="*/ 286 h 512"/>
              <a:gd name="T20" fmla="*/ 213 w 512"/>
              <a:gd name="T21" fmla="*/ 233 h 512"/>
              <a:gd name="T22" fmla="*/ 117 w 512"/>
              <a:gd name="T23" fmla="*/ 352 h 512"/>
              <a:gd name="T24" fmla="*/ 192 w 512"/>
              <a:gd name="T25" fmla="*/ 352 h 512"/>
              <a:gd name="T26" fmla="*/ 192 w 512"/>
              <a:gd name="T27" fmla="*/ 283 h 512"/>
              <a:gd name="T28" fmla="*/ 117 w 512"/>
              <a:gd name="T29" fmla="*/ 233 h 512"/>
              <a:gd name="T30" fmla="*/ 117 w 512"/>
              <a:gd name="T31" fmla="*/ 352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416 w 512"/>
              <a:gd name="T43" fmla="*/ 361 h 512"/>
              <a:gd name="T44" fmla="*/ 384 w 512"/>
              <a:gd name="T45" fmla="*/ 126 h 512"/>
              <a:gd name="T46" fmla="*/ 373 w 512"/>
              <a:gd name="T47" fmla="*/ 117 h 512"/>
              <a:gd name="T48" fmla="*/ 320 w 512"/>
              <a:gd name="T49" fmla="*/ 117 h 512"/>
              <a:gd name="T50" fmla="*/ 309 w 512"/>
              <a:gd name="T51" fmla="*/ 127 h 512"/>
              <a:gd name="T52" fmla="*/ 297 w 512"/>
              <a:gd name="T53" fmla="*/ 263 h 512"/>
              <a:gd name="T54" fmla="*/ 208 w 512"/>
              <a:gd name="T55" fmla="*/ 204 h 512"/>
              <a:gd name="T56" fmla="*/ 197 w 512"/>
              <a:gd name="T57" fmla="*/ 204 h 512"/>
              <a:gd name="T58" fmla="*/ 192 w 512"/>
              <a:gd name="T59" fmla="*/ 213 h 512"/>
              <a:gd name="T60" fmla="*/ 192 w 512"/>
              <a:gd name="T61" fmla="*/ 257 h 512"/>
              <a:gd name="T62" fmla="*/ 112 w 512"/>
              <a:gd name="T63" fmla="*/ 204 h 512"/>
              <a:gd name="T64" fmla="*/ 101 w 512"/>
              <a:gd name="T65" fmla="*/ 204 h 512"/>
              <a:gd name="T66" fmla="*/ 96 w 512"/>
              <a:gd name="T67" fmla="*/ 213 h 512"/>
              <a:gd name="T68" fmla="*/ 96 w 512"/>
              <a:gd name="T69" fmla="*/ 362 h 512"/>
              <a:gd name="T70" fmla="*/ 106 w 512"/>
              <a:gd name="T71" fmla="*/ 373 h 512"/>
              <a:gd name="T72" fmla="*/ 405 w 512"/>
              <a:gd name="T73" fmla="*/ 373 h 512"/>
              <a:gd name="T74" fmla="*/ 413 w 512"/>
              <a:gd name="T75" fmla="*/ 369 h 512"/>
              <a:gd name="T76" fmla="*/ 416 w 512"/>
              <a:gd name="T77" fmla="*/ 3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364" y="138"/>
                </a:moveTo>
                <a:cubicBezTo>
                  <a:pt x="393" y="352"/>
                  <a:pt x="393" y="352"/>
                  <a:pt x="393" y="352"/>
                </a:cubicBezTo>
                <a:cubicBezTo>
                  <a:pt x="310" y="352"/>
                  <a:pt x="310" y="352"/>
                  <a:pt x="310" y="352"/>
                </a:cubicBezTo>
                <a:cubicBezTo>
                  <a:pt x="329" y="138"/>
                  <a:pt x="329" y="138"/>
                  <a:pt x="329" y="138"/>
                </a:cubicBezTo>
                <a:lnTo>
                  <a:pt x="364" y="138"/>
                </a:lnTo>
                <a:close/>
                <a:moveTo>
                  <a:pt x="213" y="233"/>
                </a:moveTo>
                <a:cubicBezTo>
                  <a:pt x="213" y="352"/>
                  <a:pt x="213" y="352"/>
                  <a:pt x="213" y="352"/>
                </a:cubicBezTo>
                <a:cubicBezTo>
                  <a:pt x="289" y="352"/>
                  <a:pt x="289" y="352"/>
                  <a:pt x="289" y="352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6"/>
                  <a:pt x="293" y="286"/>
                  <a:pt x="292" y="286"/>
                </a:cubicBezTo>
                <a:lnTo>
                  <a:pt x="213" y="233"/>
                </a:lnTo>
                <a:close/>
                <a:moveTo>
                  <a:pt x="117" y="352"/>
                </a:moveTo>
                <a:cubicBezTo>
                  <a:pt x="192" y="352"/>
                  <a:pt x="192" y="352"/>
                  <a:pt x="192" y="352"/>
                </a:cubicBezTo>
                <a:cubicBezTo>
                  <a:pt x="192" y="283"/>
                  <a:pt x="192" y="283"/>
                  <a:pt x="192" y="283"/>
                </a:cubicBezTo>
                <a:cubicBezTo>
                  <a:pt x="117" y="233"/>
                  <a:pt x="117" y="233"/>
                  <a:pt x="117" y="233"/>
                </a:cubicBezTo>
                <a:lnTo>
                  <a:pt x="117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361"/>
                </a:moveTo>
                <a:cubicBezTo>
                  <a:pt x="384" y="126"/>
                  <a:pt x="384" y="126"/>
                  <a:pt x="384" y="126"/>
                </a:cubicBezTo>
                <a:cubicBezTo>
                  <a:pt x="383" y="121"/>
                  <a:pt x="378" y="117"/>
                  <a:pt x="373" y="117"/>
                </a:cubicBezTo>
                <a:cubicBezTo>
                  <a:pt x="320" y="117"/>
                  <a:pt x="320" y="117"/>
                  <a:pt x="320" y="117"/>
                </a:cubicBezTo>
                <a:cubicBezTo>
                  <a:pt x="314" y="117"/>
                  <a:pt x="310" y="121"/>
                  <a:pt x="309" y="127"/>
                </a:cubicBezTo>
                <a:cubicBezTo>
                  <a:pt x="297" y="263"/>
                  <a:pt x="297" y="263"/>
                  <a:pt x="297" y="263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5" y="202"/>
                  <a:pt x="201" y="202"/>
                  <a:pt x="197" y="204"/>
                </a:cubicBezTo>
                <a:cubicBezTo>
                  <a:pt x="194" y="205"/>
                  <a:pt x="192" y="209"/>
                  <a:pt x="192" y="213"/>
                </a:cubicBezTo>
                <a:cubicBezTo>
                  <a:pt x="192" y="257"/>
                  <a:pt x="192" y="257"/>
                  <a:pt x="192" y="257"/>
                </a:cubicBezTo>
                <a:cubicBezTo>
                  <a:pt x="112" y="204"/>
                  <a:pt x="112" y="204"/>
                  <a:pt x="112" y="204"/>
                </a:cubicBezTo>
                <a:cubicBezTo>
                  <a:pt x="109" y="202"/>
                  <a:pt x="105" y="202"/>
                  <a:pt x="101" y="204"/>
                </a:cubicBezTo>
                <a:cubicBezTo>
                  <a:pt x="98" y="205"/>
                  <a:pt x="96" y="209"/>
                  <a:pt x="96" y="213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08" y="373"/>
                  <a:pt x="411" y="372"/>
                  <a:pt x="413" y="369"/>
                </a:cubicBezTo>
                <a:cubicBezTo>
                  <a:pt x="415" y="367"/>
                  <a:pt x="416" y="364"/>
                  <a:pt x="416" y="36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54" name="Freeform 5"/>
          <p:cNvSpPr>
            <a:spLocks noChangeAspect="1" noEditPoints="1"/>
          </p:cNvSpPr>
          <p:nvPr/>
        </p:nvSpPr>
        <p:spPr bwMode="auto">
          <a:xfrm>
            <a:off x="7394496" y="4908501"/>
            <a:ext cx="521920" cy="521921"/>
          </a:xfrm>
          <a:custGeom>
            <a:avLst/>
            <a:gdLst>
              <a:gd name="T0" fmla="*/ 341 w 512"/>
              <a:gd name="T1" fmla="*/ 232 h 512"/>
              <a:gd name="T2" fmla="*/ 373 w 512"/>
              <a:gd name="T3" fmla="*/ 200 h 512"/>
              <a:gd name="T4" fmla="*/ 364 w 512"/>
              <a:gd name="T5" fmla="*/ 237 h 512"/>
              <a:gd name="T6" fmla="*/ 364 w 512"/>
              <a:gd name="T7" fmla="*/ 237 h 512"/>
              <a:gd name="T8" fmla="*/ 354 w 512"/>
              <a:gd name="T9" fmla="*/ 249 h 512"/>
              <a:gd name="T10" fmla="*/ 288 w 512"/>
              <a:gd name="T11" fmla="*/ 264 h 512"/>
              <a:gd name="T12" fmla="*/ 276 w 512"/>
              <a:gd name="T13" fmla="*/ 267 h 512"/>
              <a:gd name="T14" fmla="*/ 167 w 512"/>
              <a:gd name="T15" fmla="*/ 376 h 512"/>
              <a:gd name="T16" fmla="*/ 137 w 512"/>
              <a:gd name="T17" fmla="*/ 376 h 512"/>
              <a:gd name="T18" fmla="*/ 131 w 512"/>
              <a:gd name="T19" fmla="*/ 361 h 512"/>
              <a:gd name="T20" fmla="*/ 137 w 512"/>
              <a:gd name="T21" fmla="*/ 346 h 512"/>
              <a:gd name="T22" fmla="*/ 246 w 512"/>
              <a:gd name="T23" fmla="*/ 237 h 512"/>
              <a:gd name="T24" fmla="*/ 249 w 512"/>
              <a:gd name="T25" fmla="*/ 225 h 512"/>
              <a:gd name="T26" fmla="*/ 264 w 512"/>
              <a:gd name="T27" fmla="*/ 159 h 512"/>
              <a:gd name="T28" fmla="*/ 276 w 512"/>
              <a:gd name="T29" fmla="*/ 149 h 512"/>
              <a:gd name="T30" fmla="*/ 309 w 512"/>
              <a:gd name="T31" fmla="*/ 140 h 512"/>
              <a:gd name="T32" fmla="*/ 312 w 512"/>
              <a:gd name="T33" fmla="*/ 140 h 512"/>
              <a:gd name="T34" fmla="*/ 281 w 512"/>
              <a:gd name="T35" fmla="*/ 171 h 512"/>
              <a:gd name="T36" fmla="*/ 280 w 512"/>
              <a:gd name="T37" fmla="*/ 185 h 512"/>
              <a:gd name="T38" fmla="*/ 301 w 512"/>
              <a:gd name="T39" fmla="*/ 211 h 512"/>
              <a:gd name="T40" fmla="*/ 328 w 512"/>
              <a:gd name="T41" fmla="*/ 233 h 512"/>
              <a:gd name="T42" fmla="*/ 341 w 512"/>
              <a:gd name="T43" fmla="*/ 232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89 w 512"/>
              <a:gd name="T55" fmla="*/ 175 h 512"/>
              <a:gd name="T56" fmla="*/ 382 w 512"/>
              <a:gd name="T57" fmla="*/ 169 h 512"/>
              <a:gd name="T58" fmla="*/ 372 w 512"/>
              <a:gd name="T59" fmla="*/ 171 h 512"/>
              <a:gd name="T60" fmla="*/ 333 w 512"/>
              <a:gd name="T61" fmla="*/ 210 h 512"/>
              <a:gd name="T62" fmla="*/ 317 w 512"/>
              <a:gd name="T63" fmla="*/ 196 h 512"/>
              <a:gd name="T64" fmla="*/ 303 w 512"/>
              <a:gd name="T65" fmla="*/ 180 h 512"/>
              <a:gd name="T66" fmla="*/ 342 w 512"/>
              <a:gd name="T67" fmla="*/ 141 h 512"/>
              <a:gd name="T68" fmla="*/ 344 w 512"/>
              <a:gd name="T69" fmla="*/ 131 h 512"/>
              <a:gd name="T70" fmla="*/ 338 w 512"/>
              <a:gd name="T71" fmla="*/ 124 h 512"/>
              <a:gd name="T72" fmla="*/ 265 w 512"/>
              <a:gd name="T73" fmla="*/ 131 h 512"/>
              <a:gd name="T74" fmla="*/ 249 w 512"/>
              <a:gd name="T75" fmla="*/ 144 h 512"/>
              <a:gd name="T76" fmla="*/ 227 w 512"/>
              <a:gd name="T77" fmla="*/ 226 h 512"/>
              <a:gd name="T78" fmla="*/ 122 w 512"/>
              <a:gd name="T79" fmla="*/ 331 h 512"/>
              <a:gd name="T80" fmla="*/ 109 w 512"/>
              <a:gd name="T81" fmla="*/ 361 h 512"/>
              <a:gd name="T82" fmla="*/ 122 w 512"/>
              <a:gd name="T83" fmla="*/ 391 h 512"/>
              <a:gd name="T84" fmla="*/ 152 w 512"/>
              <a:gd name="T85" fmla="*/ 404 h 512"/>
              <a:gd name="T86" fmla="*/ 182 w 512"/>
              <a:gd name="T87" fmla="*/ 391 h 512"/>
              <a:gd name="T88" fmla="*/ 287 w 512"/>
              <a:gd name="T89" fmla="*/ 286 h 512"/>
              <a:gd name="T90" fmla="*/ 369 w 512"/>
              <a:gd name="T91" fmla="*/ 264 h 512"/>
              <a:gd name="T92" fmla="*/ 382 w 512"/>
              <a:gd name="T93" fmla="*/ 248 h 512"/>
              <a:gd name="T94" fmla="*/ 389 w 512"/>
              <a:gd name="T95" fmla="*/ 17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341" y="232"/>
                </a:moveTo>
                <a:cubicBezTo>
                  <a:pt x="373" y="200"/>
                  <a:pt x="373" y="200"/>
                  <a:pt x="373" y="200"/>
                </a:cubicBezTo>
                <a:cubicBezTo>
                  <a:pt x="374" y="213"/>
                  <a:pt x="370" y="226"/>
                  <a:pt x="364" y="237"/>
                </a:cubicBezTo>
                <a:cubicBezTo>
                  <a:pt x="364" y="237"/>
                  <a:pt x="364" y="237"/>
                  <a:pt x="364" y="237"/>
                </a:cubicBezTo>
                <a:cubicBezTo>
                  <a:pt x="361" y="242"/>
                  <a:pt x="358" y="246"/>
                  <a:pt x="354" y="249"/>
                </a:cubicBezTo>
                <a:cubicBezTo>
                  <a:pt x="337" y="267"/>
                  <a:pt x="311" y="272"/>
                  <a:pt x="288" y="264"/>
                </a:cubicBezTo>
                <a:cubicBezTo>
                  <a:pt x="284" y="263"/>
                  <a:pt x="279" y="264"/>
                  <a:pt x="276" y="267"/>
                </a:cubicBezTo>
                <a:cubicBezTo>
                  <a:pt x="167" y="376"/>
                  <a:pt x="167" y="376"/>
                  <a:pt x="167" y="376"/>
                </a:cubicBezTo>
                <a:cubicBezTo>
                  <a:pt x="159" y="384"/>
                  <a:pt x="145" y="384"/>
                  <a:pt x="137" y="376"/>
                </a:cubicBezTo>
                <a:cubicBezTo>
                  <a:pt x="133" y="372"/>
                  <a:pt x="131" y="367"/>
                  <a:pt x="131" y="361"/>
                </a:cubicBezTo>
                <a:cubicBezTo>
                  <a:pt x="131" y="355"/>
                  <a:pt x="133" y="350"/>
                  <a:pt x="137" y="346"/>
                </a:cubicBezTo>
                <a:cubicBezTo>
                  <a:pt x="246" y="237"/>
                  <a:pt x="246" y="237"/>
                  <a:pt x="246" y="237"/>
                </a:cubicBezTo>
                <a:cubicBezTo>
                  <a:pt x="249" y="234"/>
                  <a:pt x="250" y="229"/>
                  <a:pt x="249" y="225"/>
                </a:cubicBezTo>
                <a:cubicBezTo>
                  <a:pt x="241" y="202"/>
                  <a:pt x="246" y="176"/>
                  <a:pt x="264" y="159"/>
                </a:cubicBezTo>
                <a:cubicBezTo>
                  <a:pt x="267" y="155"/>
                  <a:pt x="271" y="152"/>
                  <a:pt x="276" y="149"/>
                </a:cubicBezTo>
                <a:cubicBezTo>
                  <a:pt x="286" y="143"/>
                  <a:pt x="297" y="140"/>
                  <a:pt x="309" y="140"/>
                </a:cubicBezTo>
                <a:cubicBezTo>
                  <a:pt x="310" y="140"/>
                  <a:pt x="311" y="140"/>
                  <a:pt x="312" y="140"/>
                </a:cubicBezTo>
                <a:cubicBezTo>
                  <a:pt x="281" y="171"/>
                  <a:pt x="281" y="171"/>
                  <a:pt x="281" y="171"/>
                </a:cubicBezTo>
                <a:cubicBezTo>
                  <a:pt x="277" y="175"/>
                  <a:pt x="277" y="181"/>
                  <a:pt x="280" y="185"/>
                </a:cubicBezTo>
                <a:cubicBezTo>
                  <a:pt x="286" y="194"/>
                  <a:pt x="293" y="203"/>
                  <a:pt x="301" y="211"/>
                </a:cubicBezTo>
                <a:cubicBezTo>
                  <a:pt x="310" y="220"/>
                  <a:pt x="318" y="227"/>
                  <a:pt x="328" y="233"/>
                </a:cubicBezTo>
                <a:cubicBezTo>
                  <a:pt x="332" y="236"/>
                  <a:pt x="338" y="235"/>
                  <a:pt x="341" y="23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5" y="512"/>
                  <a:pt x="0" y="397"/>
                  <a:pt x="0" y="256"/>
                </a:cubicBezTo>
                <a:cubicBezTo>
                  <a:pt x="0" y="114"/>
                  <a:pt x="115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9" y="175"/>
                </a:moveTo>
                <a:cubicBezTo>
                  <a:pt x="388" y="172"/>
                  <a:pt x="385" y="169"/>
                  <a:pt x="382" y="169"/>
                </a:cubicBezTo>
                <a:cubicBezTo>
                  <a:pt x="378" y="168"/>
                  <a:pt x="374" y="169"/>
                  <a:pt x="372" y="171"/>
                </a:cubicBezTo>
                <a:cubicBezTo>
                  <a:pt x="333" y="210"/>
                  <a:pt x="333" y="210"/>
                  <a:pt x="333" y="210"/>
                </a:cubicBezTo>
                <a:cubicBezTo>
                  <a:pt x="327" y="206"/>
                  <a:pt x="322" y="201"/>
                  <a:pt x="317" y="196"/>
                </a:cubicBezTo>
                <a:cubicBezTo>
                  <a:pt x="311" y="191"/>
                  <a:pt x="307" y="186"/>
                  <a:pt x="303" y="180"/>
                </a:cubicBezTo>
                <a:cubicBezTo>
                  <a:pt x="342" y="141"/>
                  <a:pt x="342" y="141"/>
                  <a:pt x="342" y="141"/>
                </a:cubicBezTo>
                <a:cubicBezTo>
                  <a:pt x="344" y="139"/>
                  <a:pt x="345" y="135"/>
                  <a:pt x="344" y="131"/>
                </a:cubicBezTo>
                <a:cubicBezTo>
                  <a:pt x="344" y="128"/>
                  <a:pt x="341" y="125"/>
                  <a:pt x="338" y="124"/>
                </a:cubicBezTo>
                <a:cubicBezTo>
                  <a:pt x="313" y="115"/>
                  <a:pt x="287" y="118"/>
                  <a:pt x="265" y="131"/>
                </a:cubicBezTo>
                <a:cubicBezTo>
                  <a:pt x="259" y="135"/>
                  <a:pt x="253" y="139"/>
                  <a:pt x="249" y="144"/>
                </a:cubicBezTo>
                <a:cubicBezTo>
                  <a:pt x="227" y="165"/>
                  <a:pt x="219" y="197"/>
                  <a:pt x="227" y="226"/>
                </a:cubicBezTo>
                <a:cubicBezTo>
                  <a:pt x="122" y="331"/>
                  <a:pt x="122" y="331"/>
                  <a:pt x="122" y="331"/>
                </a:cubicBezTo>
                <a:cubicBezTo>
                  <a:pt x="114" y="339"/>
                  <a:pt x="109" y="350"/>
                  <a:pt x="109" y="361"/>
                </a:cubicBezTo>
                <a:cubicBezTo>
                  <a:pt x="109" y="372"/>
                  <a:pt x="114" y="383"/>
                  <a:pt x="122" y="391"/>
                </a:cubicBezTo>
                <a:cubicBezTo>
                  <a:pt x="130" y="399"/>
                  <a:pt x="140" y="404"/>
                  <a:pt x="152" y="404"/>
                </a:cubicBezTo>
                <a:cubicBezTo>
                  <a:pt x="163" y="404"/>
                  <a:pt x="174" y="399"/>
                  <a:pt x="182" y="391"/>
                </a:cubicBezTo>
                <a:cubicBezTo>
                  <a:pt x="287" y="286"/>
                  <a:pt x="287" y="286"/>
                  <a:pt x="287" y="286"/>
                </a:cubicBezTo>
                <a:cubicBezTo>
                  <a:pt x="316" y="294"/>
                  <a:pt x="348" y="286"/>
                  <a:pt x="369" y="264"/>
                </a:cubicBezTo>
                <a:cubicBezTo>
                  <a:pt x="374" y="260"/>
                  <a:pt x="378" y="254"/>
                  <a:pt x="382" y="248"/>
                </a:cubicBezTo>
                <a:cubicBezTo>
                  <a:pt x="395" y="226"/>
                  <a:pt x="398" y="200"/>
                  <a:pt x="389" y="17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</p:spTree>
    <p:extLst>
      <p:ext uri="{BB962C8B-B14F-4D97-AF65-F5344CB8AC3E}">
        <p14:creationId xmlns:p14="http://schemas.microsoft.com/office/powerpoint/2010/main" val="197066320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8">
            <a:extLst>
              <a:ext uri="{FF2B5EF4-FFF2-40B4-BE49-F238E27FC236}">
                <a16:creationId xmlns:a16="http://schemas.microsoft.com/office/drawing/2014/main" id="{382709BE-0B98-B548-938C-E22A2D043E1C}"/>
              </a:ext>
            </a:extLst>
          </p:cNvPr>
          <p:cNvSpPr>
            <a:spLocks/>
          </p:cNvSpPr>
          <p:nvPr/>
        </p:nvSpPr>
        <p:spPr bwMode="auto">
          <a:xfrm>
            <a:off x="4774549" y="1303857"/>
            <a:ext cx="2608751" cy="2137089"/>
          </a:xfrm>
          <a:custGeom>
            <a:avLst/>
            <a:gdLst>
              <a:gd name="T0" fmla="*/ 135 w 176"/>
              <a:gd name="T1" fmla="*/ 144 h 144"/>
              <a:gd name="T2" fmla="*/ 166 w 176"/>
              <a:gd name="T3" fmla="*/ 43 h 144"/>
              <a:gd name="T4" fmla="*/ 151 w 176"/>
              <a:gd name="T5" fmla="*/ 19 h 144"/>
              <a:gd name="T6" fmla="*/ 0 w 176"/>
              <a:gd name="T7" fmla="*/ 25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6" h="144">
                <a:moveTo>
                  <a:pt x="135" y="144"/>
                </a:moveTo>
                <a:cubicBezTo>
                  <a:pt x="166" y="43"/>
                  <a:pt x="166" y="43"/>
                  <a:pt x="166" y="43"/>
                </a:cubicBezTo>
                <a:cubicBezTo>
                  <a:pt x="166" y="43"/>
                  <a:pt x="176" y="25"/>
                  <a:pt x="151" y="19"/>
                </a:cubicBezTo>
                <a:cubicBezTo>
                  <a:pt x="151" y="19"/>
                  <a:pt x="83" y="0"/>
                  <a:pt x="0" y="25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CB583476-B7D2-414B-91D9-3FE7F5BAC66E}"/>
              </a:ext>
            </a:extLst>
          </p:cNvPr>
          <p:cNvSpPr/>
          <p:nvPr/>
        </p:nvSpPr>
        <p:spPr bwMode="gray">
          <a:xfrm rot="10800000">
            <a:off x="3943921" y="3898002"/>
            <a:ext cx="3892254" cy="1978476"/>
          </a:xfrm>
          <a:custGeom>
            <a:avLst/>
            <a:gdLst>
              <a:gd name="connsiteX0" fmla="*/ 1243 w 2960686"/>
              <a:gd name="connsiteY0" fmla="*/ 0 h 1504949"/>
              <a:gd name="connsiteX1" fmla="*/ 2959444 w 2960686"/>
              <a:gd name="connsiteY1" fmla="*/ 0 h 1504949"/>
              <a:gd name="connsiteX2" fmla="*/ 2960686 w 2960686"/>
              <a:gd name="connsiteY2" fmla="*/ 24606 h 1504949"/>
              <a:gd name="connsiteX3" fmla="*/ 1480343 w 2960686"/>
              <a:gd name="connsiteY3" fmla="*/ 1504949 h 1504949"/>
              <a:gd name="connsiteX4" fmla="*/ 0 w 2960686"/>
              <a:gd name="connsiteY4" fmla="*/ 24606 h 1504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60686" h="1504949">
                <a:moveTo>
                  <a:pt x="1243" y="0"/>
                </a:moveTo>
                <a:lnTo>
                  <a:pt x="2959444" y="0"/>
                </a:lnTo>
                <a:lnTo>
                  <a:pt x="2960686" y="24606"/>
                </a:lnTo>
                <a:cubicBezTo>
                  <a:pt x="2960686" y="842177"/>
                  <a:pt x="2297914" y="1504949"/>
                  <a:pt x="1480343" y="1504949"/>
                </a:cubicBezTo>
                <a:cubicBezTo>
                  <a:pt x="662772" y="1504949"/>
                  <a:pt x="0" y="842177"/>
                  <a:pt x="0" y="24606"/>
                </a:cubicBezTo>
                <a:close/>
              </a:path>
            </a:pathLst>
          </a:cu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Line 5">
            <a:extLst>
              <a:ext uri="{FF2B5EF4-FFF2-40B4-BE49-F238E27FC236}">
                <a16:creationId xmlns:a16="http://schemas.microsoft.com/office/drawing/2014/main" id="{D0A60C92-6F9E-3944-9F0F-6A7E410A2AE7}"/>
              </a:ext>
            </a:extLst>
          </p:cNvPr>
          <p:cNvSpPr>
            <a:spLocks noChangeShapeType="1"/>
          </p:cNvSpPr>
          <p:nvPr/>
        </p:nvSpPr>
        <p:spPr bwMode="auto">
          <a:xfrm>
            <a:off x="1842312" y="5876478"/>
            <a:ext cx="1362812" cy="0"/>
          </a:xfrm>
          <a:prstGeom prst="line">
            <a:avLst/>
          </a:pr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7C5240AC-2867-2A4F-9B74-F557B990F5BA}"/>
              </a:ext>
            </a:extLst>
          </p:cNvPr>
          <p:cNvSpPr>
            <a:spLocks/>
          </p:cNvSpPr>
          <p:nvPr/>
        </p:nvSpPr>
        <p:spPr bwMode="auto">
          <a:xfrm>
            <a:off x="1560568" y="3203028"/>
            <a:ext cx="2324919" cy="2479357"/>
          </a:xfrm>
          <a:custGeom>
            <a:avLst/>
            <a:gdLst>
              <a:gd name="T0" fmla="*/ 157 w 157"/>
              <a:gd name="T1" fmla="*/ 79 h 167"/>
              <a:gd name="T2" fmla="*/ 72 w 157"/>
              <a:gd name="T3" fmla="*/ 16 h 167"/>
              <a:gd name="T4" fmla="*/ 44 w 157"/>
              <a:gd name="T5" fmla="*/ 23 h 167"/>
              <a:gd name="T6" fmla="*/ 0 w 157"/>
              <a:gd name="T7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7" h="167">
                <a:moveTo>
                  <a:pt x="157" y="79"/>
                </a:moveTo>
                <a:cubicBezTo>
                  <a:pt x="72" y="16"/>
                  <a:pt x="72" y="16"/>
                  <a:pt x="72" y="16"/>
                </a:cubicBezTo>
                <a:cubicBezTo>
                  <a:pt x="72" y="16"/>
                  <a:pt x="58" y="0"/>
                  <a:pt x="44" y="23"/>
                </a:cubicBezTo>
                <a:cubicBezTo>
                  <a:pt x="44" y="23"/>
                  <a:pt x="4" y="80"/>
                  <a:pt x="0" y="167"/>
                </a:cubicBez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Freeform 7">
            <a:extLst>
              <a:ext uri="{FF2B5EF4-FFF2-40B4-BE49-F238E27FC236}">
                <a16:creationId xmlns:a16="http://schemas.microsoft.com/office/drawing/2014/main" id="{E7002C38-96F2-5245-857A-FCFD1CD7AA9C}"/>
              </a:ext>
            </a:extLst>
          </p:cNvPr>
          <p:cNvSpPr>
            <a:spLocks/>
          </p:cNvSpPr>
          <p:nvPr/>
        </p:nvSpPr>
        <p:spPr bwMode="auto">
          <a:xfrm>
            <a:off x="2508066" y="1658648"/>
            <a:ext cx="2652578" cy="1811517"/>
          </a:xfrm>
          <a:custGeom>
            <a:avLst/>
            <a:gdLst>
              <a:gd name="T0" fmla="*/ 179 w 179"/>
              <a:gd name="T1" fmla="*/ 122 h 122"/>
              <a:gd name="T2" fmla="*/ 147 w 179"/>
              <a:gd name="T3" fmla="*/ 21 h 122"/>
              <a:gd name="T4" fmla="*/ 121 w 179"/>
              <a:gd name="T5" fmla="*/ 10 h 122"/>
              <a:gd name="T6" fmla="*/ 0 w 179"/>
              <a:gd name="T7" fmla="*/ 10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9" h="122">
                <a:moveTo>
                  <a:pt x="179" y="122"/>
                </a:moveTo>
                <a:cubicBezTo>
                  <a:pt x="147" y="21"/>
                  <a:pt x="147" y="21"/>
                  <a:pt x="147" y="21"/>
                </a:cubicBezTo>
                <a:cubicBezTo>
                  <a:pt x="147" y="21"/>
                  <a:pt x="146" y="0"/>
                  <a:pt x="121" y="10"/>
                </a:cubicBezTo>
                <a:cubicBezTo>
                  <a:pt x="121" y="10"/>
                  <a:pt x="54" y="32"/>
                  <a:pt x="0" y="100"/>
                </a:cubicBezTo>
              </a:path>
            </a:pathLst>
          </a:custGeom>
          <a:noFill/>
          <a:ln w="19050" cap="rnd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Freeform 9">
            <a:extLst>
              <a:ext uri="{FF2B5EF4-FFF2-40B4-BE49-F238E27FC236}">
                <a16:creationId xmlns:a16="http://schemas.microsoft.com/office/drawing/2014/main" id="{E86CC405-BDBD-BE42-B99A-EC652166E3B7}"/>
              </a:ext>
            </a:extLst>
          </p:cNvPr>
          <p:cNvSpPr>
            <a:spLocks/>
          </p:cNvSpPr>
          <p:nvPr/>
        </p:nvSpPr>
        <p:spPr bwMode="auto">
          <a:xfrm>
            <a:off x="7441735" y="1792217"/>
            <a:ext cx="2043174" cy="2644231"/>
          </a:xfrm>
          <a:custGeom>
            <a:avLst/>
            <a:gdLst>
              <a:gd name="T0" fmla="*/ 32 w 138"/>
              <a:gd name="T1" fmla="*/ 178 h 178"/>
              <a:gd name="T2" fmla="*/ 119 w 138"/>
              <a:gd name="T3" fmla="*/ 117 h 178"/>
              <a:gd name="T4" fmla="*/ 122 w 138"/>
              <a:gd name="T5" fmla="*/ 89 h 178"/>
              <a:gd name="T6" fmla="*/ 0 w 138"/>
              <a:gd name="T7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8" h="178">
                <a:moveTo>
                  <a:pt x="32" y="178"/>
                </a:moveTo>
                <a:cubicBezTo>
                  <a:pt x="119" y="117"/>
                  <a:pt x="119" y="117"/>
                  <a:pt x="119" y="117"/>
                </a:cubicBezTo>
                <a:cubicBezTo>
                  <a:pt x="119" y="117"/>
                  <a:pt x="138" y="109"/>
                  <a:pt x="122" y="89"/>
                </a:cubicBezTo>
                <a:cubicBezTo>
                  <a:pt x="122" y="89"/>
                  <a:pt x="81" y="32"/>
                  <a:pt x="0" y="0"/>
                </a:cubicBezTo>
              </a:path>
            </a:pathLst>
          </a:custGeom>
          <a:noFill/>
          <a:ln w="19050" cap="rnd">
            <a:solidFill>
              <a:schemeClr val="accent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Freeform 10">
            <a:extLst>
              <a:ext uri="{FF2B5EF4-FFF2-40B4-BE49-F238E27FC236}">
                <a16:creationId xmlns:a16="http://schemas.microsoft.com/office/drawing/2014/main" id="{8476437C-87C7-E142-931C-D8423032B51C}"/>
              </a:ext>
            </a:extLst>
          </p:cNvPr>
          <p:cNvSpPr>
            <a:spLocks/>
          </p:cNvSpPr>
          <p:nvPr/>
        </p:nvSpPr>
        <p:spPr bwMode="auto">
          <a:xfrm>
            <a:off x="3649656" y="4524102"/>
            <a:ext cx="415314" cy="1158286"/>
          </a:xfrm>
          <a:custGeom>
            <a:avLst/>
            <a:gdLst>
              <a:gd name="T0" fmla="*/ 0 w 28"/>
              <a:gd name="T1" fmla="*/ 78 h 78"/>
              <a:gd name="T2" fmla="*/ 28 w 28"/>
              <a:gd name="T3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8" h="78">
                <a:moveTo>
                  <a:pt x="0" y="78"/>
                </a:moveTo>
                <a:cubicBezTo>
                  <a:pt x="0" y="78"/>
                  <a:pt x="2" y="35"/>
                  <a:pt x="28" y="0"/>
                </a:cubicBez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Freeform 11">
            <a:extLst>
              <a:ext uri="{FF2B5EF4-FFF2-40B4-BE49-F238E27FC236}">
                <a16:creationId xmlns:a16="http://schemas.microsoft.com/office/drawing/2014/main" id="{61155D1C-CD48-2547-AB5A-08721483D899}"/>
              </a:ext>
            </a:extLst>
          </p:cNvPr>
          <p:cNvSpPr>
            <a:spLocks/>
          </p:cNvSpPr>
          <p:nvPr/>
        </p:nvSpPr>
        <p:spPr bwMode="auto">
          <a:xfrm>
            <a:off x="8418452" y="3440948"/>
            <a:ext cx="1882474" cy="2493967"/>
          </a:xfrm>
          <a:custGeom>
            <a:avLst/>
            <a:gdLst>
              <a:gd name="T0" fmla="*/ 0 w 127"/>
              <a:gd name="T1" fmla="*/ 165 h 168"/>
              <a:gd name="T2" fmla="*/ 107 w 127"/>
              <a:gd name="T3" fmla="*/ 164 h 168"/>
              <a:gd name="T4" fmla="*/ 125 w 127"/>
              <a:gd name="T5" fmla="*/ 142 h 168"/>
              <a:gd name="T6" fmla="*/ 74 w 127"/>
              <a:gd name="T7" fmla="*/ 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" h="168">
                <a:moveTo>
                  <a:pt x="0" y="165"/>
                </a:moveTo>
                <a:cubicBezTo>
                  <a:pt x="107" y="164"/>
                  <a:pt x="107" y="164"/>
                  <a:pt x="107" y="164"/>
                </a:cubicBezTo>
                <a:cubicBezTo>
                  <a:pt x="107" y="164"/>
                  <a:pt x="127" y="168"/>
                  <a:pt x="125" y="142"/>
                </a:cubicBezTo>
                <a:cubicBezTo>
                  <a:pt x="125" y="142"/>
                  <a:pt x="123" y="72"/>
                  <a:pt x="74" y="0"/>
                </a:cubicBezTo>
              </a:path>
            </a:pathLst>
          </a:custGeom>
          <a:noFill/>
          <a:ln w="19050" cap="rnd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Freeform 12">
            <a:extLst>
              <a:ext uri="{FF2B5EF4-FFF2-40B4-BE49-F238E27FC236}">
                <a16:creationId xmlns:a16="http://schemas.microsoft.com/office/drawing/2014/main" id="{61E8EC5A-21FE-9D4A-B410-050E51C2E85C}"/>
              </a:ext>
            </a:extLst>
          </p:cNvPr>
          <p:cNvSpPr>
            <a:spLocks/>
          </p:cNvSpPr>
          <p:nvPr/>
        </p:nvSpPr>
        <p:spPr bwMode="auto">
          <a:xfrm>
            <a:off x="7842439" y="4688975"/>
            <a:ext cx="413226" cy="1156199"/>
          </a:xfrm>
          <a:custGeom>
            <a:avLst/>
            <a:gdLst>
              <a:gd name="T0" fmla="*/ 28 w 28"/>
              <a:gd name="T1" fmla="*/ 78 h 78"/>
              <a:gd name="T2" fmla="*/ 0 w 28"/>
              <a:gd name="T3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8" h="78">
                <a:moveTo>
                  <a:pt x="28" y="78"/>
                </a:moveTo>
                <a:cubicBezTo>
                  <a:pt x="28" y="78"/>
                  <a:pt x="26" y="35"/>
                  <a:pt x="0" y="0"/>
                </a:cubicBezTo>
              </a:path>
            </a:pathLst>
          </a:custGeom>
          <a:noFill/>
          <a:ln w="19050" cap="rnd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Freeform 13">
            <a:extLst>
              <a:ext uri="{FF2B5EF4-FFF2-40B4-BE49-F238E27FC236}">
                <a16:creationId xmlns:a16="http://schemas.microsoft.com/office/drawing/2014/main" id="{653121D6-F207-0949-85F3-BC98DF2BD354}"/>
              </a:ext>
            </a:extLst>
          </p:cNvPr>
          <p:cNvSpPr>
            <a:spLocks/>
          </p:cNvSpPr>
          <p:nvPr/>
        </p:nvSpPr>
        <p:spPr bwMode="auto">
          <a:xfrm>
            <a:off x="4181841" y="3708084"/>
            <a:ext cx="1022630" cy="682450"/>
          </a:xfrm>
          <a:custGeom>
            <a:avLst/>
            <a:gdLst>
              <a:gd name="T0" fmla="*/ 0 w 69"/>
              <a:gd name="T1" fmla="*/ 46 h 46"/>
              <a:gd name="T2" fmla="*/ 69 w 69"/>
              <a:gd name="T3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69" h="46">
                <a:moveTo>
                  <a:pt x="0" y="46"/>
                </a:moveTo>
                <a:cubicBezTo>
                  <a:pt x="0" y="46"/>
                  <a:pt x="27" y="12"/>
                  <a:pt x="69" y="0"/>
                </a:cubicBezTo>
              </a:path>
            </a:pathLst>
          </a:custGeom>
          <a:noFill/>
          <a:ln w="19050" cap="rnd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Freeform 14">
            <a:extLst>
              <a:ext uri="{FF2B5EF4-FFF2-40B4-BE49-F238E27FC236}">
                <a16:creationId xmlns:a16="http://schemas.microsoft.com/office/drawing/2014/main" id="{F55B0E4A-1460-2D40-A168-A0209C533602}"/>
              </a:ext>
            </a:extLst>
          </p:cNvPr>
          <p:cNvSpPr>
            <a:spLocks/>
          </p:cNvSpPr>
          <p:nvPr/>
        </p:nvSpPr>
        <p:spPr bwMode="auto">
          <a:xfrm>
            <a:off x="5442389" y="3470165"/>
            <a:ext cx="1214634" cy="208700"/>
          </a:xfrm>
          <a:custGeom>
            <a:avLst/>
            <a:gdLst>
              <a:gd name="T0" fmla="*/ 0 w 82"/>
              <a:gd name="T1" fmla="*/ 11 h 14"/>
              <a:gd name="T2" fmla="*/ 82 w 82"/>
              <a:gd name="T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2" h="14">
                <a:moveTo>
                  <a:pt x="0" y="11"/>
                </a:moveTo>
                <a:cubicBezTo>
                  <a:pt x="0" y="11"/>
                  <a:pt x="42" y="0"/>
                  <a:pt x="82" y="14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Freeform 15">
            <a:extLst>
              <a:ext uri="{FF2B5EF4-FFF2-40B4-BE49-F238E27FC236}">
                <a16:creationId xmlns:a16="http://schemas.microsoft.com/office/drawing/2014/main" id="{DF81D0E8-3ACF-254D-B8B9-CD6C73AC95F9}"/>
              </a:ext>
            </a:extLst>
          </p:cNvPr>
          <p:cNvSpPr>
            <a:spLocks/>
          </p:cNvSpPr>
          <p:nvPr/>
        </p:nvSpPr>
        <p:spPr bwMode="auto">
          <a:xfrm>
            <a:off x="6805200" y="3768608"/>
            <a:ext cx="962108" cy="755494"/>
          </a:xfrm>
          <a:custGeom>
            <a:avLst/>
            <a:gdLst>
              <a:gd name="T0" fmla="*/ 0 w 65"/>
              <a:gd name="T1" fmla="*/ 0 h 51"/>
              <a:gd name="T2" fmla="*/ 65 w 65"/>
              <a:gd name="T3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65" h="51">
                <a:moveTo>
                  <a:pt x="0" y="0"/>
                </a:moveTo>
                <a:cubicBezTo>
                  <a:pt x="0" y="0"/>
                  <a:pt x="40" y="15"/>
                  <a:pt x="65" y="51"/>
                </a:cubicBezTo>
              </a:path>
            </a:pathLst>
          </a:custGeom>
          <a:noFill/>
          <a:ln w="19050" cap="rnd">
            <a:solidFill>
              <a:schemeClr val="accent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1B9F807-8EE3-3741-B570-185F0C3BF537}"/>
              </a:ext>
            </a:extLst>
          </p:cNvPr>
          <p:cNvSpPr/>
          <p:nvPr/>
        </p:nvSpPr>
        <p:spPr>
          <a:xfrm>
            <a:off x="1798305" y="5014545"/>
            <a:ext cx="168856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b="1">
                <a:solidFill>
                  <a:srgbClr val="313131"/>
                </a:solidFill>
                <a:latin typeface="Calibri"/>
              </a:rPr>
              <a:t>Deep Neural Networks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A994398-1869-B14F-A5A0-B039484F4DDF}"/>
              </a:ext>
            </a:extLst>
          </p:cNvPr>
          <p:cNvSpPr/>
          <p:nvPr/>
        </p:nvSpPr>
        <p:spPr>
          <a:xfrm>
            <a:off x="3007019" y="3232195"/>
            <a:ext cx="17569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istic Regress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85CEFA6-C81A-D84E-8577-83927DD8BE47}"/>
              </a:ext>
            </a:extLst>
          </p:cNvPr>
          <p:cNvSpPr/>
          <p:nvPr/>
        </p:nvSpPr>
        <p:spPr>
          <a:xfrm>
            <a:off x="7126981" y="3228439"/>
            <a:ext cx="15603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Vector Machin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CF731C-B69F-FC4C-B4EB-B3475D05B93F}"/>
              </a:ext>
            </a:extLst>
          </p:cNvPr>
          <p:cNvSpPr/>
          <p:nvPr/>
        </p:nvSpPr>
        <p:spPr>
          <a:xfrm>
            <a:off x="8304248" y="4971480"/>
            <a:ext cx="153996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ndom Fores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8F2BEBB-9332-E340-B0D4-62380A454FDD}"/>
              </a:ext>
            </a:extLst>
          </p:cNvPr>
          <p:cNvSpPr/>
          <p:nvPr/>
        </p:nvSpPr>
        <p:spPr>
          <a:xfrm>
            <a:off x="5193368" y="2829702"/>
            <a:ext cx="15369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cision Tre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F7A9244-1A7A-7C4C-95BD-8DCE64DBA328}"/>
              </a:ext>
            </a:extLst>
          </p:cNvPr>
          <p:cNvSpPr/>
          <p:nvPr/>
        </p:nvSpPr>
        <p:spPr>
          <a:xfrm>
            <a:off x="4831323" y="4700636"/>
            <a:ext cx="21174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a-DK" sz="2400" b="1">
                <a:solidFill>
                  <a:schemeClr val="bg1"/>
                </a:solidFill>
                <a:latin typeface="Calibri"/>
              </a:rPr>
              <a:t>Machine Learning Models</a:t>
            </a:r>
            <a:endParaRPr kumimoji="0" lang="da-DK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3B3C6A-AAC9-5B24-1E30-D270BD5B1697}"/>
              </a:ext>
            </a:extLst>
          </p:cNvPr>
          <p:cNvSpPr txBox="1">
            <a:spLocks/>
          </p:cNvSpPr>
          <p:nvPr/>
        </p:nvSpPr>
        <p:spPr>
          <a:xfrm>
            <a:off x="396234" y="393782"/>
            <a:ext cx="11188700" cy="334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altLang="ja-JP">
                <a:latin typeface="+mj-lt"/>
              </a:rPr>
              <a:t>Prediction Models</a:t>
            </a:r>
            <a:endParaRPr lang="en-US">
              <a:latin typeface="+mj-lt"/>
            </a:endParaRPr>
          </a:p>
        </p:txBody>
      </p:sp>
      <p:sp>
        <p:nvSpPr>
          <p:cNvPr id="6" name="Freeform 109">
            <a:extLst>
              <a:ext uri="{FF2B5EF4-FFF2-40B4-BE49-F238E27FC236}">
                <a16:creationId xmlns:a16="http://schemas.microsoft.com/office/drawing/2014/main" id="{63BDCB4B-ED9A-7CFB-88EC-A2B3963FC8D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89076" y="2027196"/>
            <a:ext cx="640080" cy="640080"/>
          </a:xfrm>
          <a:custGeom>
            <a:avLst/>
            <a:gdLst>
              <a:gd name="T0" fmla="*/ 235 w 512"/>
              <a:gd name="T1" fmla="*/ 150 h 512"/>
              <a:gd name="T2" fmla="*/ 277 w 512"/>
              <a:gd name="T3" fmla="*/ 118 h 512"/>
              <a:gd name="T4" fmla="*/ 235 w 512"/>
              <a:gd name="T5" fmla="*/ 342 h 512"/>
              <a:gd name="T6" fmla="*/ 277 w 512"/>
              <a:gd name="T7" fmla="*/ 320 h 512"/>
              <a:gd name="T8" fmla="*/ 235 w 512"/>
              <a:gd name="T9" fmla="*/ 342 h 512"/>
              <a:gd name="T10" fmla="*/ 160 w 512"/>
              <a:gd name="T11" fmla="*/ 342 h 512"/>
              <a:gd name="T12" fmla="*/ 117 w 512"/>
              <a:gd name="T13" fmla="*/ 320 h 512"/>
              <a:gd name="T14" fmla="*/ 512 w 512"/>
              <a:gd name="T15" fmla="*/ 256 h 512"/>
              <a:gd name="T16" fmla="*/ 0 w 512"/>
              <a:gd name="T17" fmla="*/ 256 h 512"/>
              <a:gd name="T18" fmla="*/ 512 w 512"/>
              <a:gd name="T19" fmla="*/ 256 h 512"/>
              <a:gd name="T20" fmla="*/ 405 w 512"/>
              <a:gd name="T21" fmla="*/ 299 h 512"/>
              <a:gd name="T22" fmla="*/ 384 w 512"/>
              <a:gd name="T23" fmla="*/ 235 h 512"/>
              <a:gd name="T24" fmla="*/ 267 w 512"/>
              <a:gd name="T25" fmla="*/ 224 h 512"/>
              <a:gd name="T26" fmla="*/ 288 w 512"/>
              <a:gd name="T27" fmla="*/ 171 h 512"/>
              <a:gd name="T28" fmla="*/ 299 w 512"/>
              <a:gd name="T29" fmla="*/ 107 h 512"/>
              <a:gd name="T30" fmla="*/ 224 w 512"/>
              <a:gd name="T31" fmla="*/ 96 h 512"/>
              <a:gd name="T32" fmla="*/ 213 w 512"/>
              <a:gd name="T33" fmla="*/ 160 h 512"/>
              <a:gd name="T34" fmla="*/ 245 w 512"/>
              <a:gd name="T35" fmla="*/ 171 h 512"/>
              <a:gd name="T36" fmla="*/ 139 w 512"/>
              <a:gd name="T37" fmla="*/ 224 h 512"/>
              <a:gd name="T38" fmla="*/ 128 w 512"/>
              <a:gd name="T39" fmla="*/ 299 h 512"/>
              <a:gd name="T40" fmla="*/ 96 w 512"/>
              <a:gd name="T41" fmla="*/ 310 h 512"/>
              <a:gd name="T42" fmla="*/ 107 w 512"/>
              <a:gd name="T43" fmla="*/ 363 h 512"/>
              <a:gd name="T44" fmla="*/ 181 w 512"/>
              <a:gd name="T45" fmla="*/ 352 h 512"/>
              <a:gd name="T46" fmla="*/ 171 w 512"/>
              <a:gd name="T47" fmla="*/ 299 h 512"/>
              <a:gd name="T48" fmla="*/ 149 w 512"/>
              <a:gd name="T49" fmla="*/ 246 h 512"/>
              <a:gd name="T50" fmla="*/ 245 w 512"/>
              <a:gd name="T51" fmla="*/ 299 h 512"/>
              <a:gd name="T52" fmla="*/ 213 w 512"/>
              <a:gd name="T53" fmla="*/ 310 h 512"/>
              <a:gd name="T54" fmla="*/ 224 w 512"/>
              <a:gd name="T55" fmla="*/ 363 h 512"/>
              <a:gd name="T56" fmla="*/ 299 w 512"/>
              <a:gd name="T57" fmla="*/ 352 h 512"/>
              <a:gd name="T58" fmla="*/ 288 w 512"/>
              <a:gd name="T59" fmla="*/ 299 h 512"/>
              <a:gd name="T60" fmla="*/ 267 w 512"/>
              <a:gd name="T61" fmla="*/ 246 h 512"/>
              <a:gd name="T62" fmla="*/ 363 w 512"/>
              <a:gd name="T63" fmla="*/ 299 h 512"/>
              <a:gd name="T64" fmla="*/ 331 w 512"/>
              <a:gd name="T65" fmla="*/ 310 h 512"/>
              <a:gd name="T66" fmla="*/ 341 w 512"/>
              <a:gd name="T67" fmla="*/ 363 h 512"/>
              <a:gd name="T68" fmla="*/ 416 w 512"/>
              <a:gd name="T69" fmla="*/ 352 h 512"/>
              <a:gd name="T70" fmla="*/ 352 w 512"/>
              <a:gd name="T71" fmla="*/ 342 h 512"/>
              <a:gd name="T72" fmla="*/ 395 w 512"/>
              <a:gd name="T73" fmla="*/ 320 h 512"/>
              <a:gd name="T74" fmla="*/ 352 w 512"/>
              <a:gd name="T75" fmla="*/ 34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77" y="150"/>
                </a:moveTo>
                <a:cubicBezTo>
                  <a:pt x="235" y="150"/>
                  <a:pt x="235" y="150"/>
                  <a:pt x="235" y="150"/>
                </a:cubicBezTo>
                <a:cubicBezTo>
                  <a:pt x="235" y="118"/>
                  <a:pt x="235" y="118"/>
                  <a:pt x="235" y="118"/>
                </a:cubicBezTo>
                <a:cubicBezTo>
                  <a:pt x="277" y="118"/>
                  <a:pt x="277" y="118"/>
                  <a:pt x="277" y="118"/>
                </a:cubicBezTo>
                <a:lnTo>
                  <a:pt x="277" y="150"/>
                </a:lnTo>
                <a:close/>
                <a:moveTo>
                  <a:pt x="235" y="342"/>
                </a:moveTo>
                <a:cubicBezTo>
                  <a:pt x="277" y="342"/>
                  <a:pt x="277" y="342"/>
                  <a:pt x="277" y="342"/>
                </a:cubicBezTo>
                <a:cubicBezTo>
                  <a:pt x="277" y="320"/>
                  <a:pt x="277" y="320"/>
                  <a:pt x="277" y="320"/>
                </a:cubicBezTo>
                <a:cubicBezTo>
                  <a:pt x="235" y="320"/>
                  <a:pt x="235" y="320"/>
                  <a:pt x="235" y="320"/>
                </a:cubicBezTo>
                <a:lnTo>
                  <a:pt x="235" y="342"/>
                </a:lnTo>
                <a:close/>
                <a:moveTo>
                  <a:pt x="117" y="342"/>
                </a:moveTo>
                <a:cubicBezTo>
                  <a:pt x="160" y="342"/>
                  <a:pt x="160" y="342"/>
                  <a:pt x="160" y="342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17" y="320"/>
                  <a:pt x="117" y="320"/>
                  <a:pt x="117" y="320"/>
                </a:cubicBezTo>
                <a:lnTo>
                  <a:pt x="117" y="342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416" y="310"/>
                </a:moveTo>
                <a:cubicBezTo>
                  <a:pt x="416" y="304"/>
                  <a:pt x="411" y="299"/>
                  <a:pt x="405" y="299"/>
                </a:cubicBezTo>
                <a:cubicBezTo>
                  <a:pt x="384" y="299"/>
                  <a:pt x="384" y="299"/>
                  <a:pt x="384" y="299"/>
                </a:cubicBezTo>
                <a:cubicBezTo>
                  <a:pt x="384" y="235"/>
                  <a:pt x="384" y="235"/>
                  <a:pt x="384" y="235"/>
                </a:cubicBezTo>
                <a:cubicBezTo>
                  <a:pt x="384" y="229"/>
                  <a:pt x="379" y="224"/>
                  <a:pt x="373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67" y="171"/>
                  <a:pt x="267" y="171"/>
                  <a:pt x="267" y="171"/>
                </a:cubicBezTo>
                <a:cubicBezTo>
                  <a:pt x="288" y="171"/>
                  <a:pt x="288" y="171"/>
                  <a:pt x="288" y="171"/>
                </a:cubicBezTo>
                <a:cubicBezTo>
                  <a:pt x="294" y="171"/>
                  <a:pt x="299" y="166"/>
                  <a:pt x="299" y="160"/>
                </a:cubicBezTo>
                <a:cubicBezTo>
                  <a:pt x="299" y="107"/>
                  <a:pt x="299" y="107"/>
                  <a:pt x="299" y="107"/>
                </a:cubicBezTo>
                <a:cubicBezTo>
                  <a:pt x="299" y="101"/>
                  <a:pt x="294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1"/>
                  <a:pt x="213" y="107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13" y="166"/>
                  <a:pt x="218" y="171"/>
                  <a:pt x="224" y="171"/>
                </a:cubicBezTo>
                <a:cubicBezTo>
                  <a:pt x="245" y="171"/>
                  <a:pt x="245" y="171"/>
                  <a:pt x="245" y="171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33" y="224"/>
                  <a:pt x="128" y="229"/>
                  <a:pt x="128" y="235"/>
                </a:cubicBezTo>
                <a:cubicBezTo>
                  <a:pt x="128" y="299"/>
                  <a:pt x="128" y="299"/>
                  <a:pt x="128" y="299"/>
                </a:cubicBezTo>
                <a:cubicBezTo>
                  <a:pt x="107" y="299"/>
                  <a:pt x="107" y="299"/>
                  <a:pt x="107" y="299"/>
                </a:cubicBezTo>
                <a:cubicBezTo>
                  <a:pt x="101" y="299"/>
                  <a:pt x="96" y="304"/>
                  <a:pt x="96" y="310"/>
                </a:cubicBezTo>
                <a:cubicBezTo>
                  <a:pt x="96" y="352"/>
                  <a:pt x="96" y="352"/>
                  <a:pt x="96" y="352"/>
                </a:cubicBezTo>
                <a:cubicBezTo>
                  <a:pt x="96" y="358"/>
                  <a:pt x="101" y="363"/>
                  <a:pt x="107" y="363"/>
                </a:cubicBezTo>
                <a:cubicBezTo>
                  <a:pt x="171" y="363"/>
                  <a:pt x="171" y="363"/>
                  <a:pt x="171" y="363"/>
                </a:cubicBezTo>
                <a:cubicBezTo>
                  <a:pt x="177" y="363"/>
                  <a:pt x="181" y="358"/>
                  <a:pt x="181" y="352"/>
                </a:cubicBezTo>
                <a:cubicBezTo>
                  <a:pt x="181" y="310"/>
                  <a:pt x="181" y="310"/>
                  <a:pt x="181" y="310"/>
                </a:cubicBezTo>
                <a:cubicBezTo>
                  <a:pt x="181" y="304"/>
                  <a:pt x="177" y="299"/>
                  <a:pt x="171" y="299"/>
                </a:cubicBezTo>
                <a:cubicBezTo>
                  <a:pt x="149" y="299"/>
                  <a:pt x="149" y="299"/>
                  <a:pt x="149" y="299"/>
                </a:cubicBezTo>
                <a:cubicBezTo>
                  <a:pt x="149" y="246"/>
                  <a:pt x="149" y="246"/>
                  <a:pt x="149" y="246"/>
                </a:cubicBezTo>
                <a:cubicBezTo>
                  <a:pt x="245" y="246"/>
                  <a:pt x="245" y="246"/>
                  <a:pt x="245" y="246"/>
                </a:cubicBezTo>
                <a:cubicBezTo>
                  <a:pt x="245" y="299"/>
                  <a:pt x="245" y="299"/>
                  <a:pt x="245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18" y="299"/>
                  <a:pt x="213" y="304"/>
                  <a:pt x="213" y="310"/>
                </a:cubicBezTo>
                <a:cubicBezTo>
                  <a:pt x="213" y="352"/>
                  <a:pt x="213" y="352"/>
                  <a:pt x="213" y="352"/>
                </a:cubicBezTo>
                <a:cubicBezTo>
                  <a:pt x="213" y="358"/>
                  <a:pt x="218" y="363"/>
                  <a:pt x="224" y="363"/>
                </a:cubicBezTo>
                <a:cubicBezTo>
                  <a:pt x="288" y="363"/>
                  <a:pt x="288" y="363"/>
                  <a:pt x="288" y="363"/>
                </a:cubicBezTo>
                <a:cubicBezTo>
                  <a:pt x="294" y="363"/>
                  <a:pt x="299" y="358"/>
                  <a:pt x="299" y="352"/>
                </a:cubicBezTo>
                <a:cubicBezTo>
                  <a:pt x="299" y="310"/>
                  <a:pt x="299" y="310"/>
                  <a:pt x="299" y="310"/>
                </a:cubicBezTo>
                <a:cubicBezTo>
                  <a:pt x="299" y="304"/>
                  <a:pt x="294" y="299"/>
                  <a:pt x="288" y="299"/>
                </a:cubicBezTo>
                <a:cubicBezTo>
                  <a:pt x="267" y="299"/>
                  <a:pt x="267" y="299"/>
                  <a:pt x="267" y="299"/>
                </a:cubicBezTo>
                <a:cubicBezTo>
                  <a:pt x="267" y="246"/>
                  <a:pt x="267" y="246"/>
                  <a:pt x="267" y="246"/>
                </a:cubicBezTo>
                <a:cubicBezTo>
                  <a:pt x="363" y="246"/>
                  <a:pt x="363" y="246"/>
                  <a:pt x="363" y="246"/>
                </a:cubicBezTo>
                <a:cubicBezTo>
                  <a:pt x="363" y="299"/>
                  <a:pt x="363" y="299"/>
                  <a:pt x="363" y="299"/>
                </a:cubicBezTo>
                <a:cubicBezTo>
                  <a:pt x="341" y="299"/>
                  <a:pt x="341" y="299"/>
                  <a:pt x="341" y="299"/>
                </a:cubicBezTo>
                <a:cubicBezTo>
                  <a:pt x="335" y="299"/>
                  <a:pt x="331" y="304"/>
                  <a:pt x="331" y="310"/>
                </a:cubicBezTo>
                <a:cubicBezTo>
                  <a:pt x="331" y="352"/>
                  <a:pt x="331" y="352"/>
                  <a:pt x="331" y="352"/>
                </a:cubicBezTo>
                <a:cubicBezTo>
                  <a:pt x="331" y="358"/>
                  <a:pt x="335" y="363"/>
                  <a:pt x="341" y="363"/>
                </a:cubicBezTo>
                <a:cubicBezTo>
                  <a:pt x="405" y="363"/>
                  <a:pt x="405" y="363"/>
                  <a:pt x="405" y="363"/>
                </a:cubicBezTo>
                <a:cubicBezTo>
                  <a:pt x="411" y="363"/>
                  <a:pt x="416" y="358"/>
                  <a:pt x="416" y="352"/>
                </a:cubicBezTo>
                <a:lnTo>
                  <a:pt x="416" y="310"/>
                </a:lnTo>
                <a:close/>
                <a:moveTo>
                  <a:pt x="352" y="342"/>
                </a:moveTo>
                <a:cubicBezTo>
                  <a:pt x="395" y="342"/>
                  <a:pt x="395" y="342"/>
                  <a:pt x="395" y="342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52" y="320"/>
                  <a:pt x="352" y="320"/>
                  <a:pt x="352" y="320"/>
                </a:cubicBezTo>
                <a:lnTo>
                  <a:pt x="352" y="342"/>
                </a:ln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00" u="sng"/>
          </a:p>
        </p:txBody>
      </p:sp>
      <p:sp>
        <p:nvSpPr>
          <p:cNvPr id="7" name="Freeform 584">
            <a:extLst>
              <a:ext uri="{FF2B5EF4-FFF2-40B4-BE49-F238E27FC236}">
                <a16:creationId xmlns:a16="http://schemas.microsoft.com/office/drawing/2014/main" id="{88D3CD0F-F363-3709-3842-12EF61322CE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75006" y="2525031"/>
            <a:ext cx="574184" cy="57147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373 h 512"/>
              <a:gd name="T12" fmla="*/ 106 w 512"/>
              <a:gd name="T13" fmla="*/ 373 h 512"/>
              <a:gd name="T14" fmla="*/ 96 w 512"/>
              <a:gd name="T15" fmla="*/ 362 h 512"/>
              <a:gd name="T16" fmla="*/ 96 w 512"/>
              <a:gd name="T17" fmla="*/ 149 h 512"/>
              <a:gd name="T18" fmla="*/ 106 w 512"/>
              <a:gd name="T19" fmla="*/ 138 h 512"/>
              <a:gd name="T20" fmla="*/ 117 w 512"/>
              <a:gd name="T21" fmla="*/ 149 h 512"/>
              <a:gd name="T22" fmla="*/ 117 w 512"/>
              <a:gd name="T23" fmla="*/ 352 h 512"/>
              <a:gd name="T24" fmla="*/ 405 w 512"/>
              <a:gd name="T25" fmla="*/ 352 h 512"/>
              <a:gd name="T26" fmla="*/ 416 w 512"/>
              <a:gd name="T27" fmla="*/ 362 h 512"/>
              <a:gd name="T28" fmla="*/ 405 w 512"/>
              <a:gd name="T29" fmla="*/ 373 h 512"/>
              <a:gd name="T30" fmla="*/ 413 w 512"/>
              <a:gd name="T31" fmla="*/ 178 h 512"/>
              <a:gd name="T32" fmla="*/ 295 w 512"/>
              <a:gd name="T33" fmla="*/ 295 h 512"/>
              <a:gd name="T34" fmla="*/ 280 w 512"/>
              <a:gd name="T35" fmla="*/ 295 h 512"/>
              <a:gd name="T36" fmla="*/ 224 w 512"/>
              <a:gd name="T37" fmla="*/ 239 h 512"/>
              <a:gd name="T38" fmla="*/ 157 w 512"/>
              <a:gd name="T39" fmla="*/ 306 h 512"/>
              <a:gd name="T40" fmla="*/ 149 w 512"/>
              <a:gd name="T41" fmla="*/ 309 h 512"/>
              <a:gd name="T42" fmla="*/ 141 w 512"/>
              <a:gd name="T43" fmla="*/ 306 h 512"/>
              <a:gd name="T44" fmla="*/ 141 w 512"/>
              <a:gd name="T45" fmla="*/ 291 h 512"/>
              <a:gd name="T46" fmla="*/ 216 w 512"/>
              <a:gd name="T47" fmla="*/ 216 h 512"/>
              <a:gd name="T48" fmla="*/ 231 w 512"/>
              <a:gd name="T49" fmla="*/ 216 h 512"/>
              <a:gd name="T50" fmla="*/ 288 w 512"/>
              <a:gd name="T51" fmla="*/ 273 h 512"/>
              <a:gd name="T52" fmla="*/ 397 w 512"/>
              <a:gd name="T53" fmla="*/ 163 h 512"/>
              <a:gd name="T54" fmla="*/ 413 w 512"/>
              <a:gd name="T55" fmla="*/ 163 h 512"/>
              <a:gd name="T56" fmla="*/ 413 w 512"/>
              <a:gd name="T57" fmla="*/ 1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373"/>
                </a:move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12" y="138"/>
                  <a:pt x="117" y="143"/>
                  <a:pt x="117" y="149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56"/>
                  <a:pt x="416" y="362"/>
                </a:cubicBezTo>
                <a:cubicBezTo>
                  <a:pt x="416" y="368"/>
                  <a:pt x="411" y="373"/>
                  <a:pt x="405" y="373"/>
                </a:cubicBezTo>
                <a:close/>
                <a:moveTo>
                  <a:pt x="413" y="178"/>
                </a:moveTo>
                <a:cubicBezTo>
                  <a:pt x="295" y="295"/>
                  <a:pt x="295" y="295"/>
                  <a:pt x="295" y="295"/>
                </a:cubicBezTo>
                <a:cubicBezTo>
                  <a:pt x="291" y="299"/>
                  <a:pt x="284" y="299"/>
                  <a:pt x="280" y="295"/>
                </a:cubicBezTo>
                <a:cubicBezTo>
                  <a:pt x="224" y="239"/>
                  <a:pt x="224" y="239"/>
                  <a:pt x="224" y="239"/>
                </a:cubicBezTo>
                <a:cubicBezTo>
                  <a:pt x="157" y="306"/>
                  <a:pt x="157" y="306"/>
                  <a:pt x="157" y="306"/>
                </a:cubicBezTo>
                <a:cubicBezTo>
                  <a:pt x="154" y="308"/>
                  <a:pt x="152" y="309"/>
                  <a:pt x="149" y="309"/>
                </a:cubicBezTo>
                <a:cubicBezTo>
                  <a:pt x="146" y="309"/>
                  <a:pt x="144" y="308"/>
                  <a:pt x="141" y="306"/>
                </a:cubicBezTo>
                <a:cubicBezTo>
                  <a:pt x="137" y="302"/>
                  <a:pt x="137" y="295"/>
                  <a:pt x="141" y="291"/>
                </a:cubicBezTo>
                <a:cubicBezTo>
                  <a:pt x="216" y="216"/>
                  <a:pt x="216" y="216"/>
                  <a:pt x="216" y="216"/>
                </a:cubicBezTo>
                <a:cubicBezTo>
                  <a:pt x="220" y="212"/>
                  <a:pt x="227" y="212"/>
                  <a:pt x="231" y="216"/>
                </a:cubicBezTo>
                <a:cubicBezTo>
                  <a:pt x="288" y="273"/>
                  <a:pt x="288" y="273"/>
                  <a:pt x="288" y="273"/>
                </a:cubicBezTo>
                <a:cubicBezTo>
                  <a:pt x="397" y="163"/>
                  <a:pt x="397" y="163"/>
                  <a:pt x="397" y="163"/>
                </a:cubicBezTo>
                <a:cubicBezTo>
                  <a:pt x="402" y="159"/>
                  <a:pt x="408" y="159"/>
                  <a:pt x="413" y="163"/>
                </a:cubicBezTo>
                <a:cubicBezTo>
                  <a:pt x="417" y="167"/>
                  <a:pt x="417" y="174"/>
                  <a:pt x="413" y="178"/>
                </a:cubicBezTo>
                <a:close/>
              </a:path>
            </a:pathLst>
          </a:custGeom>
          <a:solidFill>
            <a:srgbClr val="26890D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00"/>
          </a:p>
        </p:txBody>
      </p:sp>
      <p:sp>
        <p:nvSpPr>
          <p:cNvPr id="8" name="Freeform 469">
            <a:extLst>
              <a:ext uri="{FF2B5EF4-FFF2-40B4-BE49-F238E27FC236}">
                <a16:creationId xmlns:a16="http://schemas.microsoft.com/office/drawing/2014/main" id="{722AFA32-3380-C5CC-F7BE-A1B8771ED0F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92819" y="4292564"/>
            <a:ext cx="575218" cy="564076"/>
          </a:xfrm>
          <a:custGeom>
            <a:avLst/>
            <a:gdLst>
              <a:gd name="T0" fmla="*/ 309 w 512"/>
              <a:gd name="T1" fmla="*/ 320 h 512"/>
              <a:gd name="T2" fmla="*/ 288 w 512"/>
              <a:gd name="T3" fmla="*/ 341 h 512"/>
              <a:gd name="T4" fmla="*/ 266 w 512"/>
              <a:gd name="T5" fmla="*/ 320 h 512"/>
              <a:gd name="T6" fmla="*/ 288 w 512"/>
              <a:gd name="T7" fmla="*/ 298 h 512"/>
              <a:gd name="T8" fmla="*/ 309 w 512"/>
              <a:gd name="T9" fmla="*/ 320 h 512"/>
              <a:gd name="T10" fmla="*/ 213 w 512"/>
              <a:gd name="T11" fmla="*/ 160 h 512"/>
              <a:gd name="T12" fmla="*/ 192 w 512"/>
              <a:gd name="T13" fmla="*/ 181 h 512"/>
              <a:gd name="T14" fmla="*/ 213 w 512"/>
              <a:gd name="T15" fmla="*/ 202 h 512"/>
              <a:gd name="T16" fmla="*/ 234 w 512"/>
              <a:gd name="T17" fmla="*/ 181 h 512"/>
              <a:gd name="T18" fmla="*/ 213 w 512"/>
              <a:gd name="T19" fmla="*/ 160 h 512"/>
              <a:gd name="T20" fmla="*/ 138 w 512"/>
              <a:gd name="T21" fmla="*/ 298 h 512"/>
              <a:gd name="T22" fmla="*/ 117 w 512"/>
              <a:gd name="T23" fmla="*/ 320 h 512"/>
              <a:gd name="T24" fmla="*/ 138 w 512"/>
              <a:gd name="T25" fmla="*/ 341 h 512"/>
              <a:gd name="T26" fmla="*/ 160 w 512"/>
              <a:gd name="T27" fmla="*/ 320 h 512"/>
              <a:gd name="T28" fmla="*/ 138 w 512"/>
              <a:gd name="T29" fmla="*/ 298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6 w 512"/>
              <a:gd name="T41" fmla="*/ 181 h 512"/>
              <a:gd name="T42" fmla="*/ 373 w 512"/>
              <a:gd name="T43" fmla="*/ 138 h 512"/>
              <a:gd name="T44" fmla="*/ 330 w 512"/>
              <a:gd name="T45" fmla="*/ 181 h 512"/>
              <a:gd name="T46" fmla="*/ 342 w 512"/>
              <a:gd name="T47" fmla="*/ 211 h 512"/>
              <a:gd name="T48" fmla="*/ 300 w 512"/>
              <a:gd name="T49" fmla="*/ 279 h 512"/>
              <a:gd name="T50" fmla="*/ 288 w 512"/>
              <a:gd name="T51" fmla="*/ 277 h 512"/>
              <a:gd name="T52" fmla="*/ 278 w 512"/>
              <a:gd name="T53" fmla="*/ 278 h 512"/>
              <a:gd name="T54" fmla="*/ 242 w 512"/>
              <a:gd name="T55" fmla="*/ 212 h 512"/>
              <a:gd name="T56" fmla="*/ 256 w 512"/>
              <a:gd name="T57" fmla="*/ 181 h 512"/>
              <a:gd name="T58" fmla="*/ 213 w 512"/>
              <a:gd name="T59" fmla="*/ 138 h 512"/>
              <a:gd name="T60" fmla="*/ 170 w 512"/>
              <a:gd name="T61" fmla="*/ 181 h 512"/>
              <a:gd name="T62" fmla="*/ 184 w 512"/>
              <a:gd name="T63" fmla="*/ 212 h 512"/>
              <a:gd name="T64" fmla="*/ 148 w 512"/>
              <a:gd name="T65" fmla="*/ 278 h 512"/>
              <a:gd name="T66" fmla="*/ 138 w 512"/>
              <a:gd name="T67" fmla="*/ 277 h 512"/>
              <a:gd name="T68" fmla="*/ 96 w 512"/>
              <a:gd name="T69" fmla="*/ 320 h 512"/>
              <a:gd name="T70" fmla="*/ 138 w 512"/>
              <a:gd name="T71" fmla="*/ 362 h 512"/>
              <a:gd name="T72" fmla="*/ 181 w 512"/>
              <a:gd name="T73" fmla="*/ 320 h 512"/>
              <a:gd name="T74" fmla="*/ 167 w 512"/>
              <a:gd name="T75" fmla="*/ 288 h 512"/>
              <a:gd name="T76" fmla="*/ 203 w 512"/>
              <a:gd name="T77" fmla="*/ 222 h 512"/>
              <a:gd name="T78" fmla="*/ 213 w 512"/>
              <a:gd name="T79" fmla="*/ 224 h 512"/>
              <a:gd name="T80" fmla="*/ 223 w 512"/>
              <a:gd name="T81" fmla="*/ 222 h 512"/>
              <a:gd name="T82" fmla="*/ 259 w 512"/>
              <a:gd name="T83" fmla="*/ 288 h 512"/>
              <a:gd name="T84" fmla="*/ 245 w 512"/>
              <a:gd name="T85" fmla="*/ 320 h 512"/>
              <a:gd name="T86" fmla="*/ 288 w 512"/>
              <a:gd name="T87" fmla="*/ 362 h 512"/>
              <a:gd name="T88" fmla="*/ 330 w 512"/>
              <a:gd name="T89" fmla="*/ 320 h 512"/>
              <a:gd name="T90" fmla="*/ 318 w 512"/>
              <a:gd name="T91" fmla="*/ 290 h 512"/>
              <a:gd name="T92" fmla="*/ 361 w 512"/>
              <a:gd name="T93" fmla="*/ 222 h 512"/>
              <a:gd name="T94" fmla="*/ 373 w 512"/>
              <a:gd name="T95" fmla="*/ 224 h 512"/>
              <a:gd name="T96" fmla="*/ 416 w 512"/>
              <a:gd name="T97" fmla="*/ 181 h 512"/>
              <a:gd name="T98" fmla="*/ 373 w 512"/>
              <a:gd name="T99" fmla="*/ 160 h 512"/>
              <a:gd name="T100" fmla="*/ 352 w 512"/>
              <a:gd name="T101" fmla="*/ 181 h 512"/>
              <a:gd name="T102" fmla="*/ 373 w 512"/>
              <a:gd name="T103" fmla="*/ 202 h 512"/>
              <a:gd name="T104" fmla="*/ 394 w 512"/>
              <a:gd name="T105" fmla="*/ 181 h 512"/>
              <a:gd name="T106" fmla="*/ 373 w 512"/>
              <a:gd name="T107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309" y="320"/>
                </a:moveTo>
                <a:cubicBezTo>
                  <a:pt x="309" y="331"/>
                  <a:pt x="299" y="341"/>
                  <a:pt x="288" y="341"/>
                </a:cubicBezTo>
                <a:cubicBezTo>
                  <a:pt x="276" y="341"/>
                  <a:pt x="266" y="331"/>
                  <a:pt x="266" y="320"/>
                </a:cubicBezTo>
                <a:cubicBezTo>
                  <a:pt x="266" y="308"/>
                  <a:pt x="276" y="298"/>
                  <a:pt x="288" y="298"/>
                </a:cubicBezTo>
                <a:cubicBezTo>
                  <a:pt x="299" y="298"/>
                  <a:pt x="309" y="308"/>
                  <a:pt x="309" y="320"/>
                </a:cubicBezTo>
                <a:close/>
                <a:moveTo>
                  <a:pt x="213" y="160"/>
                </a:moveTo>
                <a:cubicBezTo>
                  <a:pt x="201" y="160"/>
                  <a:pt x="192" y="169"/>
                  <a:pt x="192" y="181"/>
                </a:cubicBezTo>
                <a:cubicBezTo>
                  <a:pt x="192" y="193"/>
                  <a:pt x="201" y="202"/>
                  <a:pt x="213" y="202"/>
                </a:cubicBezTo>
                <a:cubicBezTo>
                  <a:pt x="225" y="202"/>
                  <a:pt x="234" y="193"/>
                  <a:pt x="234" y="181"/>
                </a:cubicBezTo>
                <a:cubicBezTo>
                  <a:pt x="234" y="169"/>
                  <a:pt x="225" y="160"/>
                  <a:pt x="213" y="160"/>
                </a:cubicBezTo>
                <a:close/>
                <a:moveTo>
                  <a:pt x="138" y="298"/>
                </a:moveTo>
                <a:cubicBezTo>
                  <a:pt x="127" y="298"/>
                  <a:pt x="117" y="308"/>
                  <a:pt x="117" y="320"/>
                </a:cubicBezTo>
                <a:cubicBezTo>
                  <a:pt x="117" y="331"/>
                  <a:pt x="127" y="341"/>
                  <a:pt x="138" y="341"/>
                </a:cubicBezTo>
                <a:cubicBezTo>
                  <a:pt x="150" y="341"/>
                  <a:pt x="160" y="331"/>
                  <a:pt x="160" y="320"/>
                </a:cubicBezTo>
                <a:cubicBezTo>
                  <a:pt x="160" y="308"/>
                  <a:pt x="150" y="298"/>
                  <a:pt x="138" y="29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81"/>
                </a:moveTo>
                <a:cubicBezTo>
                  <a:pt x="416" y="157"/>
                  <a:pt x="397" y="138"/>
                  <a:pt x="373" y="138"/>
                </a:cubicBezTo>
                <a:cubicBezTo>
                  <a:pt x="349" y="138"/>
                  <a:pt x="330" y="157"/>
                  <a:pt x="330" y="181"/>
                </a:cubicBezTo>
                <a:cubicBezTo>
                  <a:pt x="330" y="192"/>
                  <a:pt x="335" y="203"/>
                  <a:pt x="342" y="211"/>
                </a:cubicBezTo>
                <a:cubicBezTo>
                  <a:pt x="300" y="279"/>
                  <a:pt x="300" y="279"/>
                  <a:pt x="300" y="279"/>
                </a:cubicBezTo>
                <a:cubicBezTo>
                  <a:pt x="296" y="278"/>
                  <a:pt x="292" y="277"/>
                  <a:pt x="288" y="277"/>
                </a:cubicBezTo>
                <a:cubicBezTo>
                  <a:pt x="284" y="277"/>
                  <a:pt x="281" y="278"/>
                  <a:pt x="278" y="278"/>
                </a:cubicBezTo>
                <a:cubicBezTo>
                  <a:pt x="242" y="212"/>
                  <a:pt x="242" y="212"/>
                  <a:pt x="242" y="212"/>
                </a:cubicBezTo>
                <a:cubicBezTo>
                  <a:pt x="250" y="204"/>
                  <a:pt x="256" y="193"/>
                  <a:pt x="256" y="181"/>
                </a:cubicBezTo>
                <a:cubicBezTo>
                  <a:pt x="256" y="157"/>
                  <a:pt x="237" y="138"/>
                  <a:pt x="213" y="138"/>
                </a:cubicBezTo>
                <a:cubicBezTo>
                  <a:pt x="189" y="138"/>
                  <a:pt x="170" y="157"/>
                  <a:pt x="170" y="181"/>
                </a:cubicBezTo>
                <a:cubicBezTo>
                  <a:pt x="170" y="193"/>
                  <a:pt x="176" y="204"/>
                  <a:pt x="184" y="212"/>
                </a:cubicBezTo>
                <a:cubicBezTo>
                  <a:pt x="148" y="278"/>
                  <a:pt x="148" y="278"/>
                  <a:pt x="148" y="278"/>
                </a:cubicBezTo>
                <a:cubicBezTo>
                  <a:pt x="145" y="278"/>
                  <a:pt x="142" y="277"/>
                  <a:pt x="138" y="277"/>
                </a:cubicBezTo>
                <a:cubicBezTo>
                  <a:pt x="115" y="277"/>
                  <a:pt x="96" y="296"/>
                  <a:pt x="96" y="320"/>
                </a:cubicBezTo>
                <a:cubicBezTo>
                  <a:pt x="96" y="343"/>
                  <a:pt x="115" y="362"/>
                  <a:pt x="138" y="362"/>
                </a:cubicBezTo>
                <a:cubicBezTo>
                  <a:pt x="162" y="362"/>
                  <a:pt x="181" y="343"/>
                  <a:pt x="181" y="320"/>
                </a:cubicBezTo>
                <a:cubicBezTo>
                  <a:pt x="181" y="307"/>
                  <a:pt x="176" y="296"/>
                  <a:pt x="167" y="288"/>
                </a:cubicBezTo>
                <a:cubicBezTo>
                  <a:pt x="203" y="222"/>
                  <a:pt x="203" y="222"/>
                  <a:pt x="203" y="222"/>
                </a:cubicBezTo>
                <a:cubicBezTo>
                  <a:pt x="206" y="223"/>
                  <a:pt x="209" y="224"/>
                  <a:pt x="213" y="224"/>
                </a:cubicBezTo>
                <a:cubicBezTo>
                  <a:pt x="217" y="224"/>
                  <a:pt x="220" y="223"/>
                  <a:pt x="223" y="222"/>
                </a:cubicBezTo>
                <a:cubicBezTo>
                  <a:pt x="259" y="288"/>
                  <a:pt x="259" y="288"/>
                  <a:pt x="259" y="288"/>
                </a:cubicBezTo>
                <a:cubicBezTo>
                  <a:pt x="250" y="296"/>
                  <a:pt x="245" y="307"/>
                  <a:pt x="245" y="320"/>
                </a:cubicBezTo>
                <a:cubicBezTo>
                  <a:pt x="245" y="343"/>
                  <a:pt x="264" y="362"/>
                  <a:pt x="288" y="362"/>
                </a:cubicBezTo>
                <a:cubicBezTo>
                  <a:pt x="311" y="362"/>
                  <a:pt x="330" y="343"/>
                  <a:pt x="330" y="320"/>
                </a:cubicBezTo>
                <a:cubicBezTo>
                  <a:pt x="330" y="308"/>
                  <a:pt x="326" y="298"/>
                  <a:pt x="318" y="290"/>
                </a:cubicBezTo>
                <a:cubicBezTo>
                  <a:pt x="361" y="222"/>
                  <a:pt x="361" y="222"/>
                  <a:pt x="361" y="222"/>
                </a:cubicBezTo>
                <a:cubicBezTo>
                  <a:pt x="365" y="223"/>
                  <a:pt x="369" y="224"/>
                  <a:pt x="373" y="224"/>
                </a:cubicBezTo>
                <a:cubicBezTo>
                  <a:pt x="397" y="224"/>
                  <a:pt x="416" y="205"/>
                  <a:pt x="416" y="181"/>
                </a:cubicBezTo>
                <a:close/>
                <a:moveTo>
                  <a:pt x="373" y="160"/>
                </a:moveTo>
                <a:cubicBezTo>
                  <a:pt x="361" y="160"/>
                  <a:pt x="352" y="169"/>
                  <a:pt x="352" y="181"/>
                </a:cubicBezTo>
                <a:cubicBezTo>
                  <a:pt x="352" y="193"/>
                  <a:pt x="361" y="202"/>
                  <a:pt x="373" y="202"/>
                </a:cubicBezTo>
                <a:cubicBezTo>
                  <a:pt x="385" y="202"/>
                  <a:pt x="394" y="193"/>
                  <a:pt x="394" y="181"/>
                </a:cubicBezTo>
                <a:cubicBezTo>
                  <a:pt x="394" y="169"/>
                  <a:pt x="385" y="160"/>
                  <a:pt x="373" y="16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00"/>
          </a:p>
        </p:txBody>
      </p:sp>
      <p:sp>
        <p:nvSpPr>
          <p:cNvPr id="12" name="Freeform 38">
            <a:extLst>
              <a:ext uri="{FF2B5EF4-FFF2-40B4-BE49-F238E27FC236}">
                <a16:creationId xmlns:a16="http://schemas.microsoft.com/office/drawing/2014/main" id="{22F40AAD-84A3-42FC-D422-2578884CFDD4}"/>
              </a:ext>
            </a:extLst>
          </p:cNvPr>
          <p:cNvSpPr>
            <a:spLocks noEditPoints="1"/>
          </p:cNvSpPr>
          <p:nvPr/>
        </p:nvSpPr>
        <p:spPr bwMode="auto">
          <a:xfrm>
            <a:off x="7603833" y="2482585"/>
            <a:ext cx="606601" cy="611128"/>
          </a:xfrm>
          <a:custGeom>
            <a:avLst/>
            <a:gdLst>
              <a:gd name="T0" fmla="*/ 169 w 268"/>
              <a:gd name="T1" fmla="*/ 163 h 270"/>
              <a:gd name="T2" fmla="*/ 163 w 268"/>
              <a:gd name="T3" fmla="*/ 169 h 270"/>
              <a:gd name="T4" fmla="*/ 163 w 268"/>
              <a:gd name="T5" fmla="*/ 178 h 270"/>
              <a:gd name="T6" fmla="*/ 169 w 268"/>
              <a:gd name="T7" fmla="*/ 185 h 270"/>
              <a:gd name="T8" fmla="*/ 177 w 268"/>
              <a:gd name="T9" fmla="*/ 185 h 270"/>
              <a:gd name="T10" fmla="*/ 183 w 268"/>
              <a:gd name="T11" fmla="*/ 178 h 270"/>
              <a:gd name="T12" fmla="*/ 183 w 268"/>
              <a:gd name="T13" fmla="*/ 169 h 270"/>
              <a:gd name="T14" fmla="*/ 177 w 268"/>
              <a:gd name="T15" fmla="*/ 163 h 270"/>
              <a:gd name="T16" fmla="*/ 94 w 268"/>
              <a:gd name="T17" fmla="*/ 86 h 270"/>
              <a:gd name="T18" fmla="*/ 87 w 268"/>
              <a:gd name="T19" fmla="*/ 89 h 270"/>
              <a:gd name="T20" fmla="*/ 84 w 268"/>
              <a:gd name="T21" fmla="*/ 96 h 270"/>
              <a:gd name="T22" fmla="*/ 87 w 268"/>
              <a:gd name="T23" fmla="*/ 104 h 270"/>
              <a:gd name="T24" fmla="*/ 94 w 268"/>
              <a:gd name="T25" fmla="*/ 107 h 270"/>
              <a:gd name="T26" fmla="*/ 104 w 268"/>
              <a:gd name="T27" fmla="*/ 104 h 270"/>
              <a:gd name="T28" fmla="*/ 107 w 268"/>
              <a:gd name="T29" fmla="*/ 96 h 270"/>
              <a:gd name="T30" fmla="*/ 104 w 268"/>
              <a:gd name="T31" fmla="*/ 89 h 270"/>
              <a:gd name="T32" fmla="*/ 94 w 268"/>
              <a:gd name="T33" fmla="*/ 86 h 270"/>
              <a:gd name="T34" fmla="*/ 186 w 268"/>
              <a:gd name="T35" fmla="*/ 75 h 270"/>
              <a:gd name="T36" fmla="*/ 73 w 268"/>
              <a:gd name="T37" fmla="*/ 189 h 270"/>
              <a:gd name="T38" fmla="*/ 75 w 268"/>
              <a:gd name="T39" fmla="*/ 195 h 270"/>
              <a:gd name="T40" fmla="*/ 78 w 268"/>
              <a:gd name="T41" fmla="*/ 197 h 270"/>
              <a:gd name="T42" fmla="*/ 82 w 268"/>
              <a:gd name="T43" fmla="*/ 195 h 270"/>
              <a:gd name="T44" fmla="*/ 195 w 268"/>
              <a:gd name="T45" fmla="*/ 81 h 270"/>
              <a:gd name="T46" fmla="*/ 193 w 268"/>
              <a:gd name="T47" fmla="*/ 75 h 270"/>
              <a:gd name="T48" fmla="*/ 189 w 268"/>
              <a:gd name="T49" fmla="*/ 73 h 270"/>
              <a:gd name="T50" fmla="*/ 134 w 268"/>
              <a:gd name="T51" fmla="*/ 0 h 270"/>
              <a:gd name="T52" fmla="*/ 193 w 268"/>
              <a:gd name="T53" fmla="*/ 14 h 270"/>
              <a:gd name="T54" fmla="*/ 238 w 268"/>
              <a:gd name="T55" fmla="*/ 50 h 270"/>
              <a:gd name="T56" fmla="*/ 264 w 268"/>
              <a:gd name="T57" fmla="*/ 104 h 270"/>
              <a:gd name="T58" fmla="*/ 264 w 268"/>
              <a:gd name="T59" fmla="*/ 166 h 270"/>
              <a:gd name="T60" fmla="*/ 238 w 268"/>
              <a:gd name="T61" fmla="*/ 220 h 270"/>
              <a:gd name="T62" fmla="*/ 193 w 268"/>
              <a:gd name="T63" fmla="*/ 256 h 270"/>
              <a:gd name="T64" fmla="*/ 134 w 268"/>
              <a:gd name="T65" fmla="*/ 270 h 270"/>
              <a:gd name="T66" fmla="*/ 75 w 268"/>
              <a:gd name="T67" fmla="*/ 256 h 270"/>
              <a:gd name="T68" fmla="*/ 30 w 268"/>
              <a:gd name="T69" fmla="*/ 220 h 270"/>
              <a:gd name="T70" fmla="*/ 4 w 268"/>
              <a:gd name="T71" fmla="*/ 166 h 270"/>
              <a:gd name="T72" fmla="*/ 4 w 268"/>
              <a:gd name="T73" fmla="*/ 104 h 270"/>
              <a:gd name="T74" fmla="*/ 30 w 268"/>
              <a:gd name="T75" fmla="*/ 50 h 270"/>
              <a:gd name="T76" fmla="*/ 75 w 268"/>
              <a:gd name="T77" fmla="*/ 14 h 270"/>
              <a:gd name="T78" fmla="*/ 134 w 268"/>
              <a:gd name="T79" fmla="*/ 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68" h="270">
                <a:moveTo>
                  <a:pt x="172" y="163"/>
                </a:moveTo>
                <a:lnTo>
                  <a:pt x="169" y="163"/>
                </a:lnTo>
                <a:lnTo>
                  <a:pt x="164" y="166"/>
                </a:lnTo>
                <a:lnTo>
                  <a:pt x="163" y="169"/>
                </a:lnTo>
                <a:lnTo>
                  <a:pt x="161" y="174"/>
                </a:lnTo>
                <a:lnTo>
                  <a:pt x="163" y="178"/>
                </a:lnTo>
                <a:lnTo>
                  <a:pt x="164" y="182"/>
                </a:lnTo>
                <a:lnTo>
                  <a:pt x="169" y="185"/>
                </a:lnTo>
                <a:lnTo>
                  <a:pt x="172" y="186"/>
                </a:lnTo>
                <a:lnTo>
                  <a:pt x="177" y="185"/>
                </a:lnTo>
                <a:lnTo>
                  <a:pt x="181" y="182"/>
                </a:lnTo>
                <a:lnTo>
                  <a:pt x="183" y="178"/>
                </a:lnTo>
                <a:lnTo>
                  <a:pt x="184" y="174"/>
                </a:lnTo>
                <a:lnTo>
                  <a:pt x="183" y="169"/>
                </a:lnTo>
                <a:lnTo>
                  <a:pt x="181" y="166"/>
                </a:lnTo>
                <a:lnTo>
                  <a:pt x="177" y="163"/>
                </a:lnTo>
                <a:lnTo>
                  <a:pt x="172" y="163"/>
                </a:lnTo>
                <a:close/>
                <a:moveTo>
                  <a:pt x="94" y="86"/>
                </a:moveTo>
                <a:lnTo>
                  <a:pt x="91" y="86"/>
                </a:lnTo>
                <a:lnTo>
                  <a:pt x="87" y="89"/>
                </a:lnTo>
                <a:lnTo>
                  <a:pt x="85" y="92"/>
                </a:lnTo>
                <a:lnTo>
                  <a:pt x="84" y="96"/>
                </a:lnTo>
                <a:lnTo>
                  <a:pt x="85" y="101"/>
                </a:lnTo>
                <a:lnTo>
                  <a:pt x="87" y="104"/>
                </a:lnTo>
                <a:lnTo>
                  <a:pt x="91" y="105"/>
                </a:lnTo>
                <a:lnTo>
                  <a:pt x="94" y="107"/>
                </a:lnTo>
                <a:lnTo>
                  <a:pt x="99" y="105"/>
                </a:lnTo>
                <a:lnTo>
                  <a:pt x="104" y="104"/>
                </a:lnTo>
                <a:lnTo>
                  <a:pt x="105" y="101"/>
                </a:lnTo>
                <a:lnTo>
                  <a:pt x="107" y="96"/>
                </a:lnTo>
                <a:lnTo>
                  <a:pt x="105" y="92"/>
                </a:lnTo>
                <a:lnTo>
                  <a:pt x="104" y="89"/>
                </a:lnTo>
                <a:lnTo>
                  <a:pt x="99" y="86"/>
                </a:lnTo>
                <a:lnTo>
                  <a:pt x="94" y="86"/>
                </a:lnTo>
                <a:close/>
                <a:moveTo>
                  <a:pt x="189" y="73"/>
                </a:moveTo>
                <a:lnTo>
                  <a:pt x="186" y="75"/>
                </a:lnTo>
                <a:lnTo>
                  <a:pt x="75" y="188"/>
                </a:lnTo>
                <a:lnTo>
                  <a:pt x="73" y="189"/>
                </a:lnTo>
                <a:lnTo>
                  <a:pt x="73" y="192"/>
                </a:lnTo>
                <a:lnTo>
                  <a:pt x="75" y="195"/>
                </a:lnTo>
                <a:lnTo>
                  <a:pt x="76" y="197"/>
                </a:lnTo>
                <a:lnTo>
                  <a:pt x="78" y="197"/>
                </a:lnTo>
                <a:lnTo>
                  <a:pt x="81" y="197"/>
                </a:lnTo>
                <a:lnTo>
                  <a:pt x="82" y="195"/>
                </a:lnTo>
                <a:lnTo>
                  <a:pt x="193" y="82"/>
                </a:lnTo>
                <a:lnTo>
                  <a:pt x="195" y="81"/>
                </a:lnTo>
                <a:lnTo>
                  <a:pt x="195" y="78"/>
                </a:lnTo>
                <a:lnTo>
                  <a:pt x="193" y="75"/>
                </a:lnTo>
                <a:lnTo>
                  <a:pt x="190" y="73"/>
                </a:lnTo>
                <a:lnTo>
                  <a:pt x="189" y="73"/>
                </a:lnTo>
                <a:close/>
                <a:moveTo>
                  <a:pt x="134" y="0"/>
                </a:moveTo>
                <a:lnTo>
                  <a:pt x="134" y="0"/>
                </a:lnTo>
                <a:lnTo>
                  <a:pt x="164" y="5"/>
                </a:lnTo>
                <a:lnTo>
                  <a:pt x="193" y="14"/>
                </a:lnTo>
                <a:lnTo>
                  <a:pt x="218" y="31"/>
                </a:lnTo>
                <a:lnTo>
                  <a:pt x="238" y="50"/>
                </a:lnTo>
                <a:lnTo>
                  <a:pt x="254" y="76"/>
                </a:lnTo>
                <a:lnTo>
                  <a:pt x="264" y="104"/>
                </a:lnTo>
                <a:lnTo>
                  <a:pt x="268" y="136"/>
                </a:lnTo>
                <a:lnTo>
                  <a:pt x="264" y="166"/>
                </a:lnTo>
                <a:lnTo>
                  <a:pt x="254" y="194"/>
                </a:lnTo>
                <a:lnTo>
                  <a:pt x="238" y="220"/>
                </a:lnTo>
                <a:lnTo>
                  <a:pt x="218" y="239"/>
                </a:lnTo>
                <a:lnTo>
                  <a:pt x="193" y="256"/>
                </a:lnTo>
                <a:lnTo>
                  <a:pt x="164" y="265"/>
                </a:lnTo>
                <a:lnTo>
                  <a:pt x="134" y="270"/>
                </a:lnTo>
                <a:lnTo>
                  <a:pt x="104" y="265"/>
                </a:lnTo>
                <a:lnTo>
                  <a:pt x="75" y="256"/>
                </a:lnTo>
                <a:lnTo>
                  <a:pt x="50" y="239"/>
                </a:lnTo>
                <a:lnTo>
                  <a:pt x="30" y="220"/>
                </a:lnTo>
                <a:lnTo>
                  <a:pt x="14" y="194"/>
                </a:lnTo>
                <a:lnTo>
                  <a:pt x="4" y="166"/>
                </a:lnTo>
                <a:lnTo>
                  <a:pt x="0" y="136"/>
                </a:lnTo>
                <a:lnTo>
                  <a:pt x="4" y="104"/>
                </a:lnTo>
                <a:lnTo>
                  <a:pt x="14" y="76"/>
                </a:lnTo>
                <a:lnTo>
                  <a:pt x="30" y="50"/>
                </a:lnTo>
                <a:lnTo>
                  <a:pt x="50" y="31"/>
                </a:lnTo>
                <a:lnTo>
                  <a:pt x="75" y="14"/>
                </a:lnTo>
                <a:lnTo>
                  <a:pt x="104" y="5"/>
                </a:lnTo>
                <a:lnTo>
                  <a:pt x="134" y="0"/>
                </a:lnTo>
                <a:close/>
              </a:path>
            </a:pathLst>
          </a:custGeom>
          <a:solidFill>
            <a:srgbClr val="0D839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FB6FB4B-CBEB-A4D9-5DE2-C80FD6855CDC}"/>
              </a:ext>
            </a:extLst>
          </p:cNvPr>
          <p:cNvGrpSpPr/>
          <p:nvPr/>
        </p:nvGrpSpPr>
        <p:grpSpPr>
          <a:xfrm>
            <a:off x="2329819" y="4241606"/>
            <a:ext cx="591106" cy="591106"/>
            <a:chOff x="8418452" y="438970"/>
            <a:chExt cx="684750" cy="684750"/>
          </a:xfrm>
        </p:grpSpPr>
        <p:sp>
          <p:nvSpPr>
            <p:cNvPr id="129" name="Flowchart: Connector 128">
              <a:extLst>
                <a:ext uri="{FF2B5EF4-FFF2-40B4-BE49-F238E27FC236}">
                  <a16:creationId xmlns:a16="http://schemas.microsoft.com/office/drawing/2014/main" id="{812D487D-E90A-5ED2-242C-05B7C6F5FDE1}"/>
                </a:ext>
              </a:extLst>
            </p:cNvPr>
            <p:cNvSpPr/>
            <p:nvPr/>
          </p:nvSpPr>
          <p:spPr bwMode="gray">
            <a:xfrm>
              <a:off x="8418452" y="438970"/>
              <a:ext cx="684750" cy="684750"/>
            </a:xfrm>
            <a:prstGeom prst="flowChartConnector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9901615-2D17-DF0C-9B94-C4F6078A95B2}"/>
                </a:ext>
              </a:extLst>
            </p:cNvPr>
            <p:cNvGrpSpPr/>
            <p:nvPr/>
          </p:nvGrpSpPr>
          <p:grpSpPr>
            <a:xfrm>
              <a:off x="8556471" y="570421"/>
              <a:ext cx="408703" cy="396526"/>
              <a:chOff x="2731383" y="472558"/>
              <a:chExt cx="4506289" cy="4371565"/>
            </a:xfrm>
            <a:gradFill>
              <a:gsLst>
                <a:gs pos="0">
                  <a:schemeClr val="bg1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p:grpSpPr>
          <p:sp>
            <p:nvSpPr>
              <p:cNvPr id="14" name="Freeform 70">
                <a:extLst>
                  <a:ext uri="{FF2B5EF4-FFF2-40B4-BE49-F238E27FC236}">
                    <a16:creationId xmlns:a16="http://schemas.microsoft.com/office/drawing/2014/main" id="{0381AF46-E2AD-0F36-2179-6518DBD51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6663" y="4364845"/>
                <a:ext cx="473857" cy="74330"/>
              </a:xfrm>
              <a:custGeom>
                <a:avLst/>
                <a:gdLst>
                  <a:gd name="T0" fmla="*/ 0 w 612"/>
                  <a:gd name="T1" fmla="*/ 96 h 96"/>
                  <a:gd name="T2" fmla="*/ 0 w 612"/>
                  <a:gd name="T3" fmla="*/ 78 h 96"/>
                  <a:gd name="T4" fmla="*/ 606 w 612"/>
                  <a:gd name="T5" fmla="*/ 0 h 96"/>
                  <a:gd name="T6" fmla="*/ 612 w 612"/>
                  <a:gd name="T7" fmla="*/ 12 h 96"/>
                  <a:gd name="T8" fmla="*/ 0 w 612"/>
                  <a:gd name="T9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2" h="96">
                    <a:moveTo>
                      <a:pt x="0" y="96"/>
                    </a:moveTo>
                    <a:lnTo>
                      <a:pt x="0" y="78"/>
                    </a:lnTo>
                    <a:lnTo>
                      <a:pt x="606" y="0"/>
                    </a:lnTo>
                    <a:lnTo>
                      <a:pt x="612" y="12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86"/>
                <a:endParaRPr lang="en-US" sz="1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0CC0B96-F6D3-EE2B-635E-9D4150DFF23F}"/>
                  </a:ext>
                </a:extLst>
              </p:cNvPr>
              <p:cNvGrpSpPr/>
              <p:nvPr/>
            </p:nvGrpSpPr>
            <p:grpSpPr>
              <a:xfrm>
                <a:off x="2731383" y="472558"/>
                <a:ext cx="4506289" cy="4371565"/>
                <a:chOff x="2731383" y="472558"/>
                <a:chExt cx="4506289" cy="4371565"/>
              </a:xfrm>
              <a:grpFill/>
            </p:grpSpPr>
            <p:sp>
              <p:nvSpPr>
                <p:cNvPr id="16" name="Freeform 117">
                  <a:extLst>
                    <a:ext uri="{FF2B5EF4-FFF2-40B4-BE49-F238E27FC236}">
                      <a16:creationId xmlns:a16="http://schemas.microsoft.com/office/drawing/2014/main" id="{092824FF-2527-886B-B62C-91EEF93672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4441" y="4137208"/>
                  <a:ext cx="209055" cy="218346"/>
                </a:xfrm>
                <a:custGeom>
                  <a:avLst/>
                  <a:gdLst>
                    <a:gd name="T0" fmla="*/ 258 w 270"/>
                    <a:gd name="T1" fmla="*/ 282 h 282"/>
                    <a:gd name="T2" fmla="*/ 0 w 270"/>
                    <a:gd name="T3" fmla="*/ 12 h 282"/>
                    <a:gd name="T4" fmla="*/ 12 w 270"/>
                    <a:gd name="T5" fmla="*/ 0 h 282"/>
                    <a:gd name="T6" fmla="*/ 270 w 270"/>
                    <a:gd name="T7" fmla="*/ 270 h 282"/>
                    <a:gd name="T8" fmla="*/ 258 w 270"/>
                    <a:gd name="T9" fmla="*/ 282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0" h="282">
                      <a:moveTo>
                        <a:pt x="258" y="282"/>
                      </a:moveTo>
                      <a:lnTo>
                        <a:pt x="0" y="12"/>
                      </a:lnTo>
                      <a:lnTo>
                        <a:pt x="12" y="0"/>
                      </a:lnTo>
                      <a:lnTo>
                        <a:pt x="270" y="270"/>
                      </a:lnTo>
                      <a:lnTo>
                        <a:pt x="258" y="282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86"/>
                  <a:endParaRPr lang="en-US" sz="1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" name="Freeform 118">
                  <a:extLst>
                    <a:ext uri="{FF2B5EF4-FFF2-40B4-BE49-F238E27FC236}">
                      <a16:creationId xmlns:a16="http://schemas.microsoft.com/office/drawing/2014/main" id="{46BDE70C-F35E-B13E-DD46-39785E9402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0753" y="4504215"/>
                  <a:ext cx="274868" cy="339908"/>
                </a:xfrm>
                <a:custGeom>
                  <a:avLst/>
                  <a:gdLst>
                    <a:gd name="T0" fmla="*/ 12 w 355"/>
                    <a:gd name="T1" fmla="*/ 439 h 439"/>
                    <a:gd name="T2" fmla="*/ 0 w 355"/>
                    <a:gd name="T3" fmla="*/ 427 h 439"/>
                    <a:gd name="T4" fmla="*/ 343 w 355"/>
                    <a:gd name="T5" fmla="*/ 0 h 439"/>
                    <a:gd name="T6" fmla="*/ 355 w 355"/>
                    <a:gd name="T7" fmla="*/ 12 h 439"/>
                    <a:gd name="T8" fmla="*/ 12 w 355"/>
                    <a:gd name="T9" fmla="*/ 439 h 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5" h="439">
                      <a:moveTo>
                        <a:pt x="12" y="439"/>
                      </a:moveTo>
                      <a:lnTo>
                        <a:pt x="0" y="427"/>
                      </a:lnTo>
                      <a:lnTo>
                        <a:pt x="343" y="0"/>
                      </a:lnTo>
                      <a:lnTo>
                        <a:pt x="355" y="12"/>
                      </a:lnTo>
                      <a:lnTo>
                        <a:pt x="12" y="439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86"/>
                  <a:endParaRPr lang="en-US" sz="1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" name="Freeform 121">
                  <a:extLst>
                    <a:ext uri="{FF2B5EF4-FFF2-40B4-BE49-F238E27FC236}">
                      <a16:creationId xmlns:a16="http://schemas.microsoft.com/office/drawing/2014/main" id="{319DF00F-2817-30CA-B7D4-135641B332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3655" y="3541790"/>
                  <a:ext cx="78976" cy="269448"/>
                </a:xfrm>
                <a:custGeom>
                  <a:avLst/>
                  <a:gdLst>
                    <a:gd name="T0" fmla="*/ 90 w 102"/>
                    <a:gd name="T1" fmla="*/ 348 h 348"/>
                    <a:gd name="T2" fmla="*/ 0 w 102"/>
                    <a:gd name="T3" fmla="*/ 6 h 348"/>
                    <a:gd name="T4" fmla="*/ 18 w 102"/>
                    <a:gd name="T5" fmla="*/ 0 h 348"/>
                    <a:gd name="T6" fmla="*/ 102 w 102"/>
                    <a:gd name="T7" fmla="*/ 348 h 348"/>
                    <a:gd name="T8" fmla="*/ 90 w 102"/>
                    <a:gd name="T9" fmla="*/ 348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348">
                      <a:moveTo>
                        <a:pt x="90" y="348"/>
                      </a:moveTo>
                      <a:lnTo>
                        <a:pt x="0" y="6"/>
                      </a:lnTo>
                      <a:lnTo>
                        <a:pt x="18" y="0"/>
                      </a:lnTo>
                      <a:lnTo>
                        <a:pt x="102" y="348"/>
                      </a:lnTo>
                      <a:lnTo>
                        <a:pt x="90" y="34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86"/>
                  <a:endParaRPr lang="en-US" sz="1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" name="Freeform 122">
                  <a:extLst>
                    <a:ext uri="{FF2B5EF4-FFF2-40B4-BE49-F238E27FC236}">
                      <a16:creationId xmlns:a16="http://schemas.microsoft.com/office/drawing/2014/main" id="{6E245DD1-FB41-4574-0E43-DA722DEC4F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93118" y="4467049"/>
                  <a:ext cx="125432" cy="227637"/>
                </a:xfrm>
                <a:custGeom>
                  <a:avLst/>
                  <a:gdLst>
                    <a:gd name="T0" fmla="*/ 144 w 162"/>
                    <a:gd name="T1" fmla="*/ 294 h 294"/>
                    <a:gd name="T2" fmla="*/ 0 w 162"/>
                    <a:gd name="T3" fmla="*/ 6 h 294"/>
                    <a:gd name="T4" fmla="*/ 18 w 162"/>
                    <a:gd name="T5" fmla="*/ 0 h 294"/>
                    <a:gd name="T6" fmla="*/ 162 w 162"/>
                    <a:gd name="T7" fmla="*/ 288 h 294"/>
                    <a:gd name="T8" fmla="*/ 144 w 162"/>
                    <a:gd name="T9" fmla="*/ 294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2" h="294">
                      <a:moveTo>
                        <a:pt x="144" y="294"/>
                      </a:moveTo>
                      <a:lnTo>
                        <a:pt x="0" y="6"/>
                      </a:lnTo>
                      <a:lnTo>
                        <a:pt x="18" y="0"/>
                      </a:lnTo>
                      <a:lnTo>
                        <a:pt x="162" y="288"/>
                      </a:lnTo>
                      <a:lnTo>
                        <a:pt x="144" y="29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86"/>
                  <a:endParaRPr lang="en-US" sz="1400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633B70B5-8384-B7AF-B3B0-473C09EADD88}"/>
                    </a:ext>
                  </a:extLst>
                </p:cNvPr>
                <p:cNvGrpSpPr/>
                <p:nvPr/>
              </p:nvGrpSpPr>
              <p:grpSpPr>
                <a:xfrm>
                  <a:off x="2731383" y="472558"/>
                  <a:ext cx="4506289" cy="4305750"/>
                  <a:chOff x="2731383" y="472558"/>
                  <a:chExt cx="4506289" cy="4305750"/>
                </a:xfrm>
                <a:grpFill/>
              </p:grpSpPr>
              <p:sp>
                <p:nvSpPr>
                  <p:cNvPr id="44" name="Freeform 31">
                    <a:extLst>
                      <a:ext uri="{FF2B5EF4-FFF2-40B4-BE49-F238E27FC236}">
                        <a16:creationId xmlns:a16="http://schemas.microsoft.com/office/drawing/2014/main" id="{7B9FA42B-A1B8-265B-43BA-21DBA290C4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96615" y="2732671"/>
                    <a:ext cx="902031" cy="586127"/>
                  </a:xfrm>
                  <a:custGeom>
                    <a:avLst/>
                    <a:gdLst>
                      <a:gd name="T0" fmla="*/ 192 w 194"/>
                      <a:gd name="T1" fmla="*/ 126 h 126"/>
                      <a:gd name="T2" fmla="*/ 191 w 194"/>
                      <a:gd name="T3" fmla="*/ 126 h 126"/>
                      <a:gd name="T4" fmla="*/ 1 w 194"/>
                      <a:gd name="T5" fmla="*/ 4 h 126"/>
                      <a:gd name="T6" fmla="*/ 1 w 194"/>
                      <a:gd name="T7" fmla="*/ 2 h 126"/>
                      <a:gd name="T8" fmla="*/ 3 w 194"/>
                      <a:gd name="T9" fmla="*/ 1 h 126"/>
                      <a:gd name="T10" fmla="*/ 193 w 194"/>
                      <a:gd name="T11" fmla="*/ 122 h 126"/>
                      <a:gd name="T12" fmla="*/ 193 w 194"/>
                      <a:gd name="T13" fmla="*/ 125 h 126"/>
                      <a:gd name="T14" fmla="*/ 192 w 194"/>
                      <a:gd name="T15" fmla="*/ 126 h 1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94" h="126">
                        <a:moveTo>
                          <a:pt x="192" y="126"/>
                        </a:moveTo>
                        <a:cubicBezTo>
                          <a:pt x="191" y="126"/>
                          <a:pt x="191" y="126"/>
                          <a:pt x="191" y="126"/>
                        </a:cubicBezTo>
                        <a:cubicBezTo>
                          <a:pt x="1" y="4"/>
                          <a:pt x="1" y="4"/>
                          <a:pt x="1" y="4"/>
                        </a:cubicBezTo>
                        <a:cubicBezTo>
                          <a:pt x="0" y="4"/>
                          <a:pt x="0" y="3"/>
                          <a:pt x="1" y="2"/>
                        </a:cubicBezTo>
                        <a:cubicBezTo>
                          <a:pt x="1" y="1"/>
                          <a:pt x="2" y="0"/>
                          <a:pt x="3" y="1"/>
                        </a:cubicBezTo>
                        <a:cubicBezTo>
                          <a:pt x="193" y="122"/>
                          <a:pt x="193" y="122"/>
                          <a:pt x="193" y="122"/>
                        </a:cubicBezTo>
                        <a:cubicBezTo>
                          <a:pt x="194" y="123"/>
                          <a:pt x="194" y="124"/>
                          <a:pt x="193" y="125"/>
                        </a:cubicBezTo>
                        <a:cubicBezTo>
                          <a:pt x="193" y="126"/>
                          <a:pt x="192" y="126"/>
                          <a:pt x="192" y="12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5" name="Freeform 32">
                    <a:extLst>
                      <a:ext uri="{FF2B5EF4-FFF2-40B4-BE49-F238E27FC236}">
                        <a16:creationId xmlns:a16="http://schemas.microsoft.com/office/drawing/2014/main" id="{B197A7CB-7DE1-636D-5CE6-8623B90B22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05541" y="1849222"/>
                    <a:ext cx="521088" cy="479277"/>
                  </a:xfrm>
                  <a:custGeom>
                    <a:avLst/>
                    <a:gdLst>
                      <a:gd name="T0" fmla="*/ 110 w 112"/>
                      <a:gd name="T1" fmla="*/ 103 h 103"/>
                      <a:gd name="T2" fmla="*/ 109 w 112"/>
                      <a:gd name="T3" fmla="*/ 102 h 103"/>
                      <a:gd name="T4" fmla="*/ 1 w 112"/>
                      <a:gd name="T5" fmla="*/ 3 h 103"/>
                      <a:gd name="T6" fmla="*/ 1 w 112"/>
                      <a:gd name="T7" fmla="*/ 1 h 103"/>
                      <a:gd name="T8" fmla="*/ 3 w 112"/>
                      <a:gd name="T9" fmla="*/ 1 h 103"/>
                      <a:gd name="T10" fmla="*/ 111 w 112"/>
                      <a:gd name="T11" fmla="*/ 99 h 103"/>
                      <a:gd name="T12" fmla="*/ 111 w 112"/>
                      <a:gd name="T13" fmla="*/ 102 h 103"/>
                      <a:gd name="T14" fmla="*/ 110 w 112"/>
                      <a:gd name="T15" fmla="*/ 103 h 1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12" h="103">
                        <a:moveTo>
                          <a:pt x="110" y="103"/>
                        </a:moveTo>
                        <a:cubicBezTo>
                          <a:pt x="110" y="103"/>
                          <a:pt x="109" y="102"/>
                          <a:pt x="109" y="102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0" y="3"/>
                          <a:pt x="0" y="1"/>
                          <a:pt x="1" y="1"/>
                        </a:cubicBezTo>
                        <a:cubicBezTo>
                          <a:pt x="1" y="0"/>
                          <a:pt x="3" y="0"/>
                          <a:pt x="3" y="1"/>
                        </a:cubicBezTo>
                        <a:cubicBezTo>
                          <a:pt x="111" y="99"/>
                          <a:pt x="111" y="99"/>
                          <a:pt x="111" y="99"/>
                        </a:cubicBezTo>
                        <a:cubicBezTo>
                          <a:pt x="112" y="100"/>
                          <a:pt x="112" y="101"/>
                          <a:pt x="111" y="102"/>
                        </a:cubicBezTo>
                        <a:cubicBezTo>
                          <a:pt x="111" y="102"/>
                          <a:pt x="111" y="103"/>
                          <a:pt x="110" y="10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6" name="Freeform 33">
                    <a:extLst>
                      <a:ext uri="{FF2B5EF4-FFF2-40B4-BE49-F238E27FC236}">
                        <a16:creationId xmlns:a16="http://schemas.microsoft.com/office/drawing/2014/main" id="{94481CBD-E245-56E4-FDE5-09EA2D10B2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49794" y="1040103"/>
                    <a:ext cx="307388" cy="479277"/>
                  </a:xfrm>
                  <a:custGeom>
                    <a:avLst/>
                    <a:gdLst>
                      <a:gd name="T0" fmla="*/ 2 w 66"/>
                      <a:gd name="T1" fmla="*/ 103 h 103"/>
                      <a:gd name="T2" fmla="*/ 1 w 66"/>
                      <a:gd name="T3" fmla="*/ 103 h 103"/>
                      <a:gd name="T4" fmla="*/ 0 w 66"/>
                      <a:gd name="T5" fmla="*/ 100 h 103"/>
                      <a:gd name="T6" fmla="*/ 62 w 66"/>
                      <a:gd name="T7" fmla="*/ 2 h 103"/>
                      <a:gd name="T8" fmla="*/ 64 w 66"/>
                      <a:gd name="T9" fmla="*/ 1 h 103"/>
                      <a:gd name="T10" fmla="*/ 65 w 66"/>
                      <a:gd name="T11" fmla="*/ 4 h 103"/>
                      <a:gd name="T12" fmla="*/ 4 w 66"/>
                      <a:gd name="T13" fmla="*/ 102 h 103"/>
                      <a:gd name="T14" fmla="*/ 2 w 66"/>
                      <a:gd name="T15" fmla="*/ 103 h 1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6" h="103">
                        <a:moveTo>
                          <a:pt x="2" y="103"/>
                        </a:moveTo>
                        <a:cubicBezTo>
                          <a:pt x="2" y="103"/>
                          <a:pt x="1" y="103"/>
                          <a:pt x="1" y="103"/>
                        </a:cubicBezTo>
                        <a:cubicBezTo>
                          <a:pt x="0" y="102"/>
                          <a:pt x="0" y="101"/>
                          <a:pt x="0" y="100"/>
                        </a:cubicBezTo>
                        <a:cubicBezTo>
                          <a:pt x="62" y="2"/>
                          <a:pt x="62" y="2"/>
                          <a:pt x="62" y="2"/>
                        </a:cubicBezTo>
                        <a:cubicBezTo>
                          <a:pt x="62" y="1"/>
                          <a:pt x="63" y="0"/>
                          <a:pt x="64" y="1"/>
                        </a:cubicBezTo>
                        <a:cubicBezTo>
                          <a:pt x="65" y="2"/>
                          <a:pt x="66" y="3"/>
                          <a:pt x="65" y="4"/>
                        </a:cubicBezTo>
                        <a:cubicBezTo>
                          <a:pt x="4" y="102"/>
                          <a:pt x="4" y="102"/>
                          <a:pt x="4" y="102"/>
                        </a:cubicBezTo>
                        <a:cubicBezTo>
                          <a:pt x="3" y="103"/>
                          <a:pt x="3" y="103"/>
                          <a:pt x="2" y="10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7" name="Freeform 34">
                    <a:extLst>
                      <a:ext uri="{FF2B5EF4-FFF2-40B4-BE49-F238E27FC236}">
                        <a16:creationId xmlns:a16="http://schemas.microsoft.com/office/drawing/2014/main" id="{99C9D73F-ECEF-BABA-05FB-FCAA3078124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45621" y="858923"/>
                    <a:ext cx="190472" cy="632584"/>
                  </a:xfrm>
                  <a:custGeom>
                    <a:avLst/>
                    <a:gdLst>
                      <a:gd name="T0" fmla="*/ 38 w 41"/>
                      <a:gd name="T1" fmla="*/ 136 h 136"/>
                      <a:gd name="T2" fmla="*/ 36 w 41"/>
                      <a:gd name="T3" fmla="*/ 134 h 136"/>
                      <a:gd name="T4" fmla="*/ 0 w 41"/>
                      <a:gd name="T5" fmla="*/ 2 h 136"/>
                      <a:gd name="T6" fmla="*/ 2 w 41"/>
                      <a:gd name="T7" fmla="*/ 0 h 136"/>
                      <a:gd name="T8" fmla="*/ 4 w 41"/>
                      <a:gd name="T9" fmla="*/ 1 h 136"/>
                      <a:gd name="T10" fmla="*/ 40 w 41"/>
                      <a:gd name="T11" fmla="*/ 133 h 136"/>
                      <a:gd name="T12" fmla="*/ 39 w 41"/>
                      <a:gd name="T13" fmla="*/ 136 h 136"/>
                      <a:gd name="T14" fmla="*/ 38 w 41"/>
                      <a:gd name="T15" fmla="*/ 136 h 1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1" h="136">
                        <a:moveTo>
                          <a:pt x="38" y="136"/>
                        </a:moveTo>
                        <a:cubicBezTo>
                          <a:pt x="37" y="136"/>
                          <a:pt x="36" y="135"/>
                          <a:pt x="36" y="134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3" y="0"/>
                          <a:pt x="4" y="0"/>
                          <a:pt x="4" y="1"/>
                        </a:cubicBezTo>
                        <a:cubicBezTo>
                          <a:pt x="40" y="133"/>
                          <a:pt x="40" y="133"/>
                          <a:pt x="40" y="133"/>
                        </a:cubicBezTo>
                        <a:cubicBezTo>
                          <a:pt x="41" y="134"/>
                          <a:pt x="40" y="135"/>
                          <a:pt x="39" y="136"/>
                        </a:cubicBezTo>
                        <a:cubicBezTo>
                          <a:pt x="39" y="136"/>
                          <a:pt x="38" y="136"/>
                          <a:pt x="38" y="13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0" name="Freeform 55">
                    <a:extLst>
                      <a:ext uri="{FF2B5EF4-FFF2-40B4-BE49-F238E27FC236}">
                        <a16:creationId xmlns:a16="http://schemas.microsoft.com/office/drawing/2014/main" id="{D2122447-AD0C-2EA7-90FE-A979CD89470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40092" y="1923552"/>
                    <a:ext cx="442112" cy="367007"/>
                  </a:xfrm>
                  <a:custGeom>
                    <a:avLst/>
                    <a:gdLst>
                      <a:gd name="T0" fmla="*/ 2 w 95"/>
                      <a:gd name="T1" fmla="*/ 79 h 79"/>
                      <a:gd name="T2" fmla="*/ 1 w 95"/>
                      <a:gd name="T3" fmla="*/ 78 h 79"/>
                      <a:gd name="T4" fmla="*/ 1 w 95"/>
                      <a:gd name="T5" fmla="*/ 75 h 79"/>
                      <a:gd name="T6" fmla="*/ 92 w 95"/>
                      <a:gd name="T7" fmla="*/ 0 h 79"/>
                      <a:gd name="T8" fmla="*/ 95 w 95"/>
                      <a:gd name="T9" fmla="*/ 1 h 79"/>
                      <a:gd name="T10" fmla="*/ 94 w 95"/>
                      <a:gd name="T11" fmla="*/ 4 h 79"/>
                      <a:gd name="T12" fmla="*/ 4 w 95"/>
                      <a:gd name="T13" fmla="*/ 78 h 79"/>
                      <a:gd name="T14" fmla="*/ 2 w 95"/>
                      <a:gd name="T15" fmla="*/ 79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5" h="79">
                        <a:moveTo>
                          <a:pt x="2" y="79"/>
                        </a:moveTo>
                        <a:cubicBezTo>
                          <a:pt x="2" y="79"/>
                          <a:pt x="1" y="78"/>
                          <a:pt x="1" y="78"/>
                        </a:cubicBezTo>
                        <a:cubicBezTo>
                          <a:pt x="0" y="77"/>
                          <a:pt x="0" y="76"/>
                          <a:pt x="1" y="75"/>
                        </a:cubicBezTo>
                        <a:cubicBezTo>
                          <a:pt x="92" y="0"/>
                          <a:pt x="92" y="0"/>
                          <a:pt x="92" y="0"/>
                        </a:cubicBezTo>
                        <a:cubicBezTo>
                          <a:pt x="93" y="0"/>
                          <a:pt x="94" y="0"/>
                          <a:pt x="95" y="1"/>
                        </a:cubicBezTo>
                        <a:cubicBezTo>
                          <a:pt x="95" y="2"/>
                          <a:pt x="95" y="3"/>
                          <a:pt x="94" y="4"/>
                        </a:cubicBezTo>
                        <a:cubicBezTo>
                          <a:pt x="4" y="78"/>
                          <a:pt x="4" y="78"/>
                          <a:pt x="4" y="78"/>
                        </a:cubicBezTo>
                        <a:cubicBezTo>
                          <a:pt x="3" y="79"/>
                          <a:pt x="3" y="79"/>
                          <a:pt x="2" y="79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1" name="Freeform 56">
                    <a:extLst>
                      <a:ext uri="{FF2B5EF4-FFF2-40B4-BE49-F238E27FC236}">
                        <a16:creationId xmlns:a16="http://schemas.microsoft.com/office/drawing/2014/main" id="{BEB8387B-4BCA-0A51-EFBD-8AD57C9B925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47243" y="1295614"/>
                    <a:ext cx="456049" cy="553608"/>
                  </a:xfrm>
                  <a:custGeom>
                    <a:avLst/>
                    <a:gdLst>
                      <a:gd name="T0" fmla="*/ 3 w 98"/>
                      <a:gd name="T1" fmla="*/ 119 h 119"/>
                      <a:gd name="T2" fmla="*/ 1 w 98"/>
                      <a:gd name="T3" fmla="*/ 119 h 119"/>
                      <a:gd name="T4" fmla="*/ 1 w 98"/>
                      <a:gd name="T5" fmla="*/ 116 h 119"/>
                      <a:gd name="T6" fmla="*/ 94 w 98"/>
                      <a:gd name="T7" fmla="*/ 1 h 119"/>
                      <a:gd name="T8" fmla="*/ 97 w 98"/>
                      <a:gd name="T9" fmla="*/ 1 h 119"/>
                      <a:gd name="T10" fmla="*/ 98 w 98"/>
                      <a:gd name="T11" fmla="*/ 4 h 119"/>
                      <a:gd name="T12" fmla="*/ 4 w 98"/>
                      <a:gd name="T13" fmla="*/ 118 h 119"/>
                      <a:gd name="T14" fmla="*/ 3 w 98"/>
                      <a:gd name="T15" fmla="*/ 119 h 1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8" h="119">
                        <a:moveTo>
                          <a:pt x="3" y="119"/>
                        </a:moveTo>
                        <a:cubicBezTo>
                          <a:pt x="2" y="119"/>
                          <a:pt x="2" y="119"/>
                          <a:pt x="1" y="119"/>
                        </a:cubicBezTo>
                        <a:cubicBezTo>
                          <a:pt x="1" y="118"/>
                          <a:pt x="0" y="117"/>
                          <a:pt x="1" y="116"/>
                        </a:cubicBezTo>
                        <a:cubicBezTo>
                          <a:pt x="94" y="1"/>
                          <a:pt x="94" y="1"/>
                          <a:pt x="94" y="1"/>
                        </a:cubicBezTo>
                        <a:cubicBezTo>
                          <a:pt x="95" y="0"/>
                          <a:pt x="96" y="0"/>
                          <a:pt x="97" y="1"/>
                        </a:cubicBezTo>
                        <a:cubicBezTo>
                          <a:pt x="98" y="1"/>
                          <a:pt x="98" y="3"/>
                          <a:pt x="98" y="4"/>
                        </a:cubicBezTo>
                        <a:cubicBezTo>
                          <a:pt x="4" y="118"/>
                          <a:pt x="4" y="118"/>
                          <a:pt x="4" y="118"/>
                        </a:cubicBezTo>
                        <a:cubicBezTo>
                          <a:pt x="4" y="119"/>
                          <a:pt x="3" y="119"/>
                          <a:pt x="3" y="119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2" name="Freeform 57">
                    <a:extLst>
                      <a:ext uri="{FF2B5EF4-FFF2-40B4-BE49-F238E27FC236}">
                        <a16:creationId xmlns:a16="http://schemas.microsoft.com/office/drawing/2014/main" id="{1C01579F-EFE5-9EAC-54DF-056150AE64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80236" y="2505034"/>
                    <a:ext cx="427400" cy="55748"/>
                  </a:xfrm>
                  <a:custGeom>
                    <a:avLst/>
                    <a:gdLst>
                      <a:gd name="T0" fmla="*/ 552 w 552"/>
                      <a:gd name="T1" fmla="*/ 72 h 72"/>
                      <a:gd name="T2" fmla="*/ 0 w 552"/>
                      <a:gd name="T3" fmla="*/ 12 h 72"/>
                      <a:gd name="T4" fmla="*/ 0 w 552"/>
                      <a:gd name="T5" fmla="*/ 0 h 72"/>
                      <a:gd name="T6" fmla="*/ 552 w 552"/>
                      <a:gd name="T7" fmla="*/ 54 h 72"/>
                      <a:gd name="T8" fmla="*/ 552 w 552"/>
                      <a:gd name="T9" fmla="*/ 72 h 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2" h="72">
                        <a:moveTo>
                          <a:pt x="552" y="72"/>
                        </a:moveTo>
                        <a:lnTo>
                          <a:pt x="0" y="12"/>
                        </a:lnTo>
                        <a:lnTo>
                          <a:pt x="0" y="0"/>
                        </a:lnTo>
                        <a:lnTo>
                          <a:pt x="552" y="54"/>
                        </a:lnTo>
                        <a:lnTo>
                          <a:pt x="552" y="72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Freeform 58">
                    <a:extLst>
                      <a:ext uri="{FF2B5EF4-FFF2-40B4-BE49-F238E27FC236}">
                        <a16:creationId xmlns:a16="http://schemas.microsoft.com/office/drawing/2014/main" id="{17571695-E91C-9F9F-D7F9-88C7EA2A8E0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33307" y="1942135"/>
                    <a:ext cx="181180" cy="460695"/>
                  </a:xfrm>
                  <a:custGeom>
                    <a:avLst/>
                    <a:gdLst>
                      <a:gd name="T0" fmla="*/ 216 w 234"/>
                      <a:gd name="T1" fmla="*/ 595 h 595"/>
                      <a:gd name="T2" fmla="*/ 0 w 234"/>
                      <a:gd name="T3" fmla="*/ 6 h 595"/>
                      <a:gd name="T4" fmla="*/ 18 w 234"/>
                      <a:gd name="T5" fmla="*/ 0 h 595"/>
                      <a:gd name="T6" fmla="*/ 234 w 234"/>
                      <a:gd name="T7" fmla="*/ 589 h 595"/>
                      <a:gd name="T8" fmla="*/ 216 w 234"/>
                      <a:gd name="T9" fmla="*/ 595 h 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4" h="595">
                        <a:moveTo>
                          <a:pt x="216" y="595"/>
                        </a:moveTo>
                        <a:lnTo>
                          <a:pt x="0" y="6"/>
                        </a:lnTo>
                        <a:lnTo>
                          <a:pt x="18" y="0"/>
                        </a:lnTo>
                        <a:lnTo>
                          <a:pt x="234" y="589"/>
                        </a:lnTo>
                        <a:lnTo>
                          <a:pt x="216" y="595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Freeform 59">
                    <a:extLst>
                      <a:ext uri="{FF2B5EF4-FFF2-40B4-BE49-F238E27FC236}">
                        <a16:creationId xmlns:a16="http://schemas.microsoft.com/office/drawing/2014/main" id="{78DA67C7-5536-D517-156C-410DE4EE43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42898" y="2137252"/>
                    <a:ext cx="483148" cy="325971"/>
                  </a:xfrm>
                  <a:custGeom>
                    <a:avLst/>
                    <a:gdLst>
                      <a:gd name="T0" fmla="*/ 6 w 624"/>
                      <a:gd name="T1" fmla="*/ 421 h 421"/>
                      <a:gd name="T2" fmla="*/ 0 w 624"/>
                      <a:gd name="T3" fmla="*/ 409 h 421"/>
                      <a:gd name="T4" fmla="*/ 612 w 624"/>
                      <a:gd name="T5" fmla="*/ 0 h 421"/>
                      <a:gd name="T6" fmla="*/ 624 w 624"/>
                      <a:gd name="T7" fmla="*/ 12 h 421"/>
                      <a:gd name="T8" fmla="*/ 6 w 624"/>
                      <a:gd name="T9" fmla="*/ 421 h 4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24" h="421">
                        <a:moveTo>
                          <a:pt x="6" y="421"/>
                        </a:moveTo>
                        <a:lnTo>
                          <a:pt x="0" y="409"/>
                        </a:lnTo>
                        <a:lnTo>
                          <a:pt x="612" y="0"/>
                        </a:lnTo>
                        <a:lnTo>
                          <a:pt x="624" y="12"/>
                        </a:lnTo>
                        <a:lnTo>
                          <a:pt x="6" y="421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Freeform 60">
                    <a:extLst>
                      <a:ext uri="{FF2B5EF4-FFF2-40B4-BE49-F238E27FC236}">
                        <a16:creationId xmlns:a16="http://schemas.microsoft.com/office/drawing/2014/main" id="{AD11D494-3641-0B21-E9A8-4E20267F7F2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82204" y="1156245"/>
                    <a:ext cx="399526" cy="157952"/>
                  </a:xfrm>
                  <a:custGeom>
                    <a:avLst/>
                    <a:gdLst>
                      <a:gd name="T0" fmla="*/ 6 w 516"/>
                      <a:gd name="T1" fmla="*/ 204 h 204"/>
                      <a:gd name="T2" fmla="*/ 0 w 516"/>
                      <a:gd name="T3" fmla="*/ 186 h 204"/>
                      <a:gd name="T4" fmla="*/ 516 w 516"/>
                      <a:gd name="T5" fmla="*/ 0 h 204"/>
                      <a:gd name="T6" fmla="*/ 516 w 516"/>
                      <a:gd name="T7" fmla="*/ 18 h 204"/>
                      <a:gd name="T8" fmla="*/ 6 w 516"/>
                      <a:gd name="T9" fmla="*/ 204 h 2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6" h="204">
                        <a:moveTo>
                          <a:pt x="6" y="204"/>
                        </a:moveTo>
                        <a:lnTo>
                          <a:pt x="0" y="186"/>
                        </a:lnTo>
                        <a:lnTo>
                          <a:pt x="516" y="0"/>
                        </a:lnTo>
                        <a:lnTo>
                          <a:pt x="516" y="18"/>
                        </a:lnTo>
                        <a:lnTo>
                          <a:pt x="6" y="204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Freeform 61">
                    <a:extLst>
                      <a:ext uri="{FF2B5EF4-FFF2-40B4-BE49-F238E27FC236}">
                        <a16:creationId xmlns:a16="http://schemas.microsoft.com/office/drawing/2014/main" id="{8DA83855-1FDE-57FF-DC7A-36FBA97E94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49512" y="630511"/>
                    <a:ext cx="232282" cy="260931"/>
                  </a:xfrm>
                  <a:custGeom>
                    <a:avLst/>
                    <a:gdLst>
                      <a:gd name="T0" fmla="*/ 12 w 300"/>
                      <a:gd name="T1" fmla="*/ 337 h 337"/>
                      <a:gd name="T2" fmla="*/ 0 w 300"/>
                      <a:gd name="T3" fmla="*/ 325 h 337"/>
                      <a:gd name="T4" fmla="*/ 288 w 300"/>
                      <a:gd name="T5" fmla="*/ 0 h 337"/>
                      <a:gd name="T6" fmla="*/ 300 w 300"/>
                      <a:gd name="T7" fmla="*/ 13 h 337"/>
                      <a:gd name="T8" fmla="*/ 12 w 300"/>
                      <a:gd name="T9" fmla="*/ 337 h 3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0" h="337">
                        <a:moveTo>
                          <a:pt x="12" y="337"/>
                        </a:moveTo>
                        <a:lnTo>
                          <a:pt x="0" y="325"/>
                        </a:lnTo>
                        <a:lnTo>
                          <a:pt x="288" y="0"/>
                        </a:lnTo>
                        <a:lnTo>
                          <a:pt x="300" y="13"/>
                        </a:lnTo>
                        <a:lnTo>
                          <a:pt x="12" y="337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7" name="Freeform 62">
                    <a:extLst>
                      <a:ext uri="{FF2B5EF4-FFF2-40B4-BE49-F238E27FC236}">
                        <a16:creationId xmlns:a16="http://schemas.microsoft.com/office/drawing/2014/main" id="{5F5E36FC-25DC-4A68-6544-58955B7F44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6362" y="942545"/>
                    <a:ext cx="562899" cy="130078"/>
                  </a:xfrm>
                  <a:custGeom>
                    <a:avLst/>
                    <a:gdLst>
                      <a:gd name="T0" fmla="*/ 6 w 727"/>
                      <a:gd name="T1" fmla="*/ 168 h 168"/>
                      <a:gd name="T2" fmla="*/ 0 w 727"/>
                      <a:gd name="T3" fmla="*/ 150 h 168"/>
                      <a:gd name="T4" fmla="*/ 727 w 727"/>
                      <a:gd name="T5" fmla="*/ 0 h 168"/>
                      <a:gd name="T6" fmla="*/ 727 w 727"/>
                      <a:gd name="T7" fmla="*/ 12 h 168"/>
                      <a:gd name="T8" fmla="*/ 6 w 727"/>
                      <a:gd name="T9" fmla="*/ 168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7" h="168">
                        <a:moveTo>
                          <a:pt x="6" y="168"/>
                        </a:moveTo>
                        <a:lnTo>
                          <a:pt x="0" y="150"/>
                        </a:lnTo>
                        <a:lnTo>
                          <a:pt x="727" y="0"/>
                        </a:lnTo>
                        <a:lnTo>
                          <a:pt x="727" y="12"/>
                        </a:lnTo>
                        <a:lnTo>
                          <a:pt x="6" y="168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8" name="Freeform 63">
                    <a:extLst>
                      <a:ext uri="{FF2B5EF4-FFF2-40B4-BE49-F238E27FC236}">
                        <a16:creationId xmlns:a16="http://schemas.microsoft.com/office/drawing/2014/main" id="{EC95108B-826F-7CF5-0CF0-E8BBAE8EEFF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49620" y="2881332"/>
                    <a:ext cx="51102" cy="818410"/>
                  </a:xfrm>
                  <a:custGeom>
                    <a:avLst/>
                    <a:gdLst>
                      <a:gd name="T0" fmla="*/ 54 w 66"/>
                      <a:gd name="T1" fmla="*/ 1057 h 1057"/>
                      <a:gd name="T2" fmla="*/ 0 w 66"/>
                      <a:gd name="T3" fmla="*/ 0 h 1057"/>
                      <a:gd name="T4" fmla="*/ 12 w 66"/>
                      <a:gd name="T5" fmla="*/ 0 h 1057"/>
                      <a:gd name="T6" fmla="*/ 66 w 66"/>
                      <a:gd name="T7" fmla="*/ 1057 h 1057"/>
                      <a:gd name="T8" fmla="*/ 54 w 66"/>
                      <a:gd name="T9" fmla="*/ 1057 h 10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6" h="1057">
                        <a:moveTo>
                          <a:pt x="54" y="1057"/>
                        </a:moveTo>
                        <a:lnTo>
                          <a:pt x="0" y="0"/>
                        </a:lnTo>
                        <a:lnTo>
                          <a:pt x="12" y="0"/>
                        </a:lnTo>
                        <a:lnTo>
                          <a:pt x="66" y="1057"/>
                        </a:lnTo>
                        <a:lnTo>
                          <a:pt x="54" y="1057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9" name="Freeform 64">
                    <a:extLst>
                      <a:ext uri="{FF2B5EF4-FFF2-40B4-BE49-F238E27FC236}">
                        <a16:creationId xmlns:a16="http://schemas.microsoft.com/office/drawing/2014/main" id="{D59F4A7B-570D-C5B4-E415-1EA9CB2959C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78205" y="3625411"/>
                    <a:ext cx="422755" cy="218346"/>
                  </a:xfrm>
                  <a:custGeom>
                    <a:avLst/>
                    <a:gdLst>
                      <a:gd name="T0" fmla="*/ 540 w 546"/>
                      <a:gd name="T1" fmla="*/ 282 h 282"/>
                      <a:gd name="T2" fmla="*/ 0 w 546"/>
                      <a:gd name="T3" fmla="*/ 18 h 282"/>
                      <a:gd name="T4" fmla="*/ 12 w 546"/>
                      <a:gd name="T5" fmla="*/ 0 h 282"/>
                      <a:gd name="T6" fmla="*/ 546 w 546"/>
                      <a:gd name="T7" fmla="*/ 264 h 282"/>
                      <a:gd name="T8" fmla="*/ 540 w 546"/>
                      <a:gd name="T9" fmla="*/ 282 h 2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46" h="282">
                        <a:moveTo>
                          <a:pt x="540" y="282"/>
                        </a:moveTo>
                        <a:lnTo>
                          <a:pt x="0" y="18"/>
                        </a:lnTo>
                        <a:lnTo>
                          <a:pt x="12" y="0"/>
                        </a:lnTo>
                        <a:lnTo>
                          <a:pt x="546" y="264"/>
                        </a:lnTo>
                        <a:lnTo>
                          <a:pt x="540" y="282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0" name="Freeform 65">
                    <a:extLst>
                      <a:ext uri="{FF2B5EF4-FFF2-40B4-BE49-F238E27FC236}">
                        <a16:creationId xmlns:a16="http://schemas.microsoft.com/office/drawing/2014/main" id="{7E995E69-46DA-EE70-AD4C-EB6B627666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89873" y="3193365"/>
                    <a:ext cx="399526" cy="255511"/>
                  </a:xfrm>
                  <a:custGeom>
                    <a:avLst/>
                    <a:gdLst>
                      <a:gd name="T0" fmla="*/ 504 w 516"/>
                      <a:gd name="T1" fmla="*/ 330 h 330"/>
                      <a:gd name="T2" fmla="*/ 0 w 516"/>
                      <a:gd name="T3" fmla="*/ 12 h 330"/>
                      <a:gd name="T4" fmla="*/ 12 w 516"/>
                      <a:gd name="T5" fmla="*/ 0 h 330"/>
                      <a:gd name="T6" fmla="*/ 516 w 516"/>
                      <a:gd name="T7" fmla="*/ 318 h 330"/>
                      <a:gd name="T8" fmla="*/ 504 w 516"/>
                      <a:gd name="T9" fmla="*/ 330 h 3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6" h="330">
                        <a:moveTo>
                          <a:pt x="504" y="330"/>
                        </a:moveTo>
                        <a:lnTo>
                          <a:pt x="0" y="12"/>
                        </a:lnTo>
                        <a:lnTo>
                          <a:pt x="12" y="0"/>
                        </a:lnTo>
                        <a:lnTo>
                          <a:pt x="516" y="318"/>
                        </a:lnTo>
                        <a:lnTo>
                          <a:pt x="504" y="33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1" name="Freeform 66">
                    <a:extLst>
                      <a:ext uri="{FF2B5EF4-FFF2-40B4-BE49-F238E27FC236}">
                        <a16:creationId xmlns:a16="http://schemas.microsoft.com/office/drawing/2014/main" id="{62980AD6-A17B-7582-73E1-CBA758F456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94346" y="4123271"/>
                    <a:ext cx="371653" cy="394880"/>
                  </a:xfrm>
                  <a:custGeom>
                    <a:avLst/>
                    <a:gdLst>
                      <a:gd name="T0" fmla="*/ 12 w 480"/>
                      <a:gd name="T1" fmla="*/ 510 h 510"/>
                      <a:gd name="T2" fmla="*/ 0 w 480"/>
                      <a:gd name="T3" fmla="*/ 498 h 510"/>
                      <a:gd name="T4" fmla="*/ 468 w 480"/>
                      <a:gd name="T5" fmla="*/ 0 h 510"/>
                      <a:gd name="T6" fmla="*/ 480 w 480"/>
                      <a:gd name="T7" fmla="*/ 12 h 510"/>
                      <a:gd name="T8" fmla="*/ 12 w 480"/>
                      <a:gd name="T9" fmla="*/ 510 h 5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80" h="510">
                        <a:moveTo>
                          <a:pt x="12" y="510"/>
                        </a:moveTo>
                        <a:lnTo>
                          <a:pt x="0" y="498"/>
                        </a:lnTo>
                        <a:lnTo>
                          <a:pt x="468" y="0"/>
                        </a:lnTo>
                        <a:lnTo>
                          <a:pt x="480" y="12"/>
                        </a:lnTo>
                        <a:lnTo>
                          <a:pt x="12" y="51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2" name="Freeform 67">
                    <a:extLst>
                      <a:ext uri="{FF2B5EF4-FFF2-40B4-BE49-F238E27FC236}">
                        <a16:creationId xmlns:a16="http://schemas.microsoft.com/office/drawing/2014/main" id="{C3ED0851-5ECB-7137-46C5-99F613994B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89637" y="3727616"/>
                    <a:ext cx="301968" cy="627938"/>
                  </a:xfrm>
                  <a:custGeom>
                    <a:avLst/>
                    <a:gdLst>
                      <a:gd name="T0" fmla="*/ 12 w 390"/>
                      <a:gd name="T1" fmla="*/ 811 h 811"/>
                      <a:gd name="T2" fmla="*/ 0 w 390"/>
                      <a:gd name="T3" fmla="*/ 805 h 811"/>
                      <a:gd name="T4" fmla="*/ 372 w 390"/>
                      <a:gd name="T5" fmla="*/ 0 h 811"/>
                      <a:gd name="T6" fmla="*/ 390 w 390"/>
                      <a:gd name="T7" fmla="*/ 6 h 811"/>
                      <a:gd name="T8" fmla="*/ 12 w 390"/>
                      <a:gd name="T9" fmla="*/ 811 h 8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0" h="811">
                        <a:moveTo>
                          <a:pt x="12" y="811"/>
                        </a:moveTo>
                        <a:lnTo>
                          <a:pt x="0" y="805"/>
                        </a:lnTo>
                        <a:lnTo>
                          <a:pt x="372" y="0"/>
                        </a:lnTo>
                        <a:lnTo>
                          <a:pt x="390" y="6"/>
                        </a:lnTo>
                        <a:lnTo>
                          <a:pt x="12" y="811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3" name="Freeform 68">
                    <a:extLst>
                      <a:ext uri="{FF2B5EF4-FFF2-40B4-BE49-F238E27FC236}">
                        <a16:creationId xmlns:a16="http://schemas.microsoft.com/office/drawing/2014/main" id="{3BA52ACA-47F5-3074-9E37-07D8D19476E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36093" y="4467049"/>
                    <a:ext cx="278739" cy="120787"/>
                  </a:xfrm>
                  <a:custGeom>
                    <a:avLst/>
                    <a:gdLst>
                      <a:gd name="T0" fmla="*/ 360 w 360"/>
                      <a:gd name="T1" fmla="*/ 156 h 156"/>
                      <a:gd name="T2" fmla="*/ 0 w 360"/>
                      <a:gd name="T3" fmla="*/ 18 h 156"/>
                      <a:gd name="T4" fmla="*/ 0 w 360"/>
                      <a:gd name="T5" fmla="*/ 0 h 156"/>
                      <a:gd name="T6" fmla="*/ 360 w 360"/>
                      <a:gd name="T7" fmla="*/ 138 h 156"/>
                      <a:gd name="T8" fmla="*/ 360 w 360"/>
                      <a:gd name="T9" fmla="*/ 156 h 1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60" h="156">
                        <a:moveTo>
                          <a:pt x="360" y="156"/>
                        </a:moveTo>
                        <a:lnTo>
                          <a:pt x="0" y="18"/>
                        </a:lnTo>
                        <a:lnTo>
                          <a:pt x="0" y="0"/>
                        </a:lnTo>
                        <a:lnTo>
                          <a:pt x="360" y="138"/>
                        </a:lnTo>
                        <a:lnTo>
                          <a:pt x="360" y="156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4" name="Freeform 69">
                    <a:extLst>
                      <a:ext uri="{FF2B5EF4-FFF2-40B4-BE49-F238E27FC236}">
                        <a16:creationId xmlns:a16="http://schemas.microsoft.com/office/drawing/2014/main" id="{F9697F9D-403E-B5C3-1982-10865C1D34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51716" y="3811238"/>
                    <a:ext cx="176535" cy="483923"/>
                  </a:xfrm>
                  <a:custGeom>
                    <a:avLst/>
                    <a:gdLst>
                      <a:gd name="T0" fmla="*/ 210 w 228"/>
                      <a:gd name="T1" fmla="*/ 625 h 625"/>
                      <a:gd name="T2" fmla="*/ 0 w 228"/>
                      <a:gd name="T3" fmla="*/ 0 h 625"/>
                      <a:gd name="T4" fmla="*/ 18 w 228"/>
                      <a:gd name="T5" fmla="*/ 0 h 625"/>
                      <a:gd name="T6" fmla="*/ 228 w 228"/>
                      <a:gd name="T7" fmla="*/ 625 h 625"/>
                      <a:gd name="T8" fmla="*/ 210 w 228"/>
                      <a:gd name="T9" fmla="*/ 625 h 6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28" h="625">
                        <a:moveTo>
                          <a:pt x="210" y="625"/>
                        </a:moveTo>
                        <a:lnTo>
                          <a:pt x="0" y="0"/>
                        </a:lnTo>
                        <a:lnTo>
                          <a:pt x="18" y="0"/>
                        </a:lnTo>
                        <a:lnTo>
                          <a:pt x="228" y="625"/>
                        </a:lnTo>
                        <a:lnTo>
                          <a:pt x="210" y="625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5" name="Freeform 71">
                    <a:extLst>
                      <a:ext uri="{FF2B5EF4-FFF2-40B4-BE49-F238E27FC236}">
                        <a16:creationId xmlns:a16="http://schemas.microsoft.com/office/drawing/2014/main" id="{7703E79B-E3C6-B0C8-0A73-DEA5DFFF85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41951" y="4546026"/>
                    <a:ext cx="312033" cy="232282"/>
                  </a:xfrm>
                  <a:custGeom>
                    <a:avLst/>
                    <a:gdLst>
                      <a:gd name="T0" fmla="*/ 391 w 403"/>
                      <a:gd name="T1" fmla="*/ 300 h 300"/>
                      <a:gd name="T2" fmla="*/ 0 w 403"/>
                      <a:gd name="T3" fmla="*/ 12 h 300"/>
                      <a:gd name="T4" fmla="*/ 6 w 403"/>
                      <a:gd name="T5" fmla="*/ 0 h 300"/>
                      <a:gd name="T6" fmla="*/ 403 w 403"/>
                      <a:gd name="T7" fmla="*/ 282 h 300"/>
                      <a:gd name="T8" fmla="*/ 391 w 403"/>
                      <a:gd name="T9" fmla="*/ 300 h 3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3" h="300">
                        <a:moveTo>
                          <a:pt x="391" y="300"/>
                        </a:moveTo>
                        <a:lnTo>
                          <a:pt x="0" y="12"/>
                        </a:lnTo>
                        <a:lnTo>
                          <a:pt x="6" y="0"/>
                        </a:lnTo>
                        <a:lnTo>
                          <a:pt x="403" y="282"/>
                        </a:lnTo>
                        <a:lnTo>
                          <a:pt x="391" y="30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6" name="Freeform 72">
                    <a:extLst>
                      <a:ext uri="{FF2B5EF4-FFF2-40B4-BE49-F238E27FC236}">
                        <a16:creationId xmlns:a16="http://schemas.microsoft.com/office/drawing/2014/main" id="{73CAA097-F15D-6FE4-2B7F-9A8CC765A85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84709" y="4480987"/>
                    <a:ext cx="432046" cy="74330"/>
                  </a:xfrm>
                  <a:custGeom>
                    <a:avLst/>
                    <a:gdLst>
                      <a:gd name="T0" fmla="*/ 6 w 558"/>
                      <a:gd name="T1" fmla="*/ 96 h 96"/>
                      <a:gd name="T2" fmla="*/ 0 w 558"/>
                      <a:gd name="T3" fmla="*/ 78 h 96"/>
                      <a:gd name="T4" fmla="*/ 552 w 558"/>
                      <a:gd name="T5" fmla="*/ 0 h 96"/>
                      <a:gd name="T6" fmla="*/ 558 w 558"/>
                      <a:gd name="T7" fmla="*/ 18 h 96"/>
                      <a:gd name="T8" fmla="*/ 6 w 558"/>
                      <a:gd name="T9" fmla="*/ 96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8" h="96">
                        <a:moveTo>
                          <a:pt x="6" y="96"/>
                        </a:moveTo>
                        <a:lnTo>
                          <a:pt x="0" y="78"/>
                        </a:lnTo>
                        <a:lnTo>
                          <a:pt x="552" y="0"/>
                        </a:lnTo>
                        <a:lnTo>
                          <a:pt x="558" y="18"/>
                        </a:lnTo>
                        <a:lnTo>
                          <a:pt x="6" y="96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7" name="Freeform 73">
                    <a:extLst>
                      <a:ext uri="{FF2B5EF4-FFF2-40B4-BE49-F238E27FC236}">
                        <a16:creationId xmlns:a16="http://schemas.microsoft.com/office/drawing/2014/main" id="{A8E29E48-6E1B-4295-A45E-D2487C2B09C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37542" y="3202657"/>
                    <a:ext cx="358490" cy="116141"/>
                  </a:xfrm>
                  <a:custGeom>
                    <a:avLst/>
                    <a:gdLst>
                      <a:gd name="T0" fmla="*/ 6 w 463"/>
                      <a:gd name="T1" fmla="*/ 150 h 150"/>
                      <a:gd name="T2" fmla="*/ 0 w 463"/>
                      <a:gd name="T3" fmla="*/ 132 h 150"/>
                      <a:gd name="T4" fmla="*/ 457 w 463"/>
                      <a:gd name="T5" fmla="*/ 0 h 150"/>
                      <a:gd name="T6" fmla="*/ 463 w 463"/>
                      <a:gd name="T7" fmla="*/ 12 h 150"/>
                      <a:gd name="T8" fmla="*/ 6 w 463"/>
                      <a:gd name="T9" fmla="*/ 150 h 1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63" h="150">
                        <a:moveTo>
                          <a:pt x="6" y="150"/>
                        </a:moveTo>
                        <a:lnTo>
                          <a:pt x="0" y="132"/>
                        </a:lnTo>
                        <a:lnTo>
                          <a:pt x="457" y="0"/>
                        </a:lnTo>
                        <a:lnTo>
                          <a:pt x="463" y="12"/>
                        </a:lnTo>
                        <a:lnTo>
                          <a:pt x="6" y="15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8" name="Freeform 74">
                    <a:extLst>
                      <a:ext uri="{FF2B5EF4-FFF2-40B4-BE49-F238E27FC236}">
                        <a16:creationId xmlns:a16="http://schemas.microsoft.com/office/drawing/2014/main" id="{F19C25D0-54F3-A253-B5A9-883CCE2D8A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86741" y="1937489"/>
                    <a:ext cx="404172" cy="46457"/>
                  </a:xfrm>
                  <a:custGeom>
                    <a:avLst/>
                    <a:gdLst>
                      <a:gd name="T0" fmla="*/ 0 w 522"/>
                      <a:gd name="T1" fmla="*/ 60 h 60"/>
                      <a:gd name="T2" fmla="*/ 0 w 522"/>
                      <a:gd name="T3" fmla="*/ 42 h 60"/>
                      <a:gd name="T4" fmla="*/ 522 w 522"/>
                      <a:gd name="T5" fmla="*/ 0 h 60"/>
                      <a:gd name="T6" fmla="*/ 522 w 522"/>
                      <a:gd name="T7" fmla="*/ 18 h 60"/>
                      <a:gd name="T8" fmla="*/ 0 w 522"/>
                      <a:gd name="T9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22" h="60">
                        <a:moveTo>
                          <a:pt x="0" y="60"/>
                        </a:moveTo>
                        <a:lnTo>
                          <a:pt x="0" y="42"/>
                        </a:lnTo>
                        <a:lnTo>
                          <a:pt x="522" y="0"/>
                        </a:lnTo>
                        <a:lnTo>
                          <a:pt x="522" y="18"/>
                        </a:lnTo>
                        <a:lnTo>
                          <a:pt x="0" y="6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9" name="Freeform 75">
                    <a:extLst>
                      <a:ext uri="{FF2B5EF4-FFF2-40B4-BE49-F238E27FC236}">
                        <a16:creationId xmlns:a16="http://schemas.microsoft.com/office/drawing/2014/main" id="{6C0A7726-DD63-9C65-C92D-C9FC4DB1FDF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23842" y="2285913"/>
                    <a:ext cx="283385" cy="888869"/>
                  </a:xfrm>
                  <a:custGeom>
                    <a:avLst/>
                    <a:gdLst>
                      <a:gd name="T0" fmla="*/ 12 w 366"/>
                      <a:gd name="T1" fmla="*/ 1148 h 1148"/>
                      <a:gd name="T2" fmla="*/ 0 w 366"/>
                      <a:gd name="T3" fmla="*/ 1142 h 1148"/>
                      <a:gd name="T4" fmla="*/ 348 w 366"/>
                      <a:gd name="T5" fmla="*/ 0 h 1148"/>
                      <a:gd name="T6" fmla="*/ 366 w 366"/>
                      <a:gd name="T7" fmla="*/ 0 h 1148"/>
                      <a:gd name="T8" fmla="*/ 12 w 366"/>
                      <a:gd name="T9" fmla="*/ 1148 h 1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66" h="1148">
                        <a:moveTo>
                          <a:pt x="12" y="1148"/>
                        </a:moveTo>
                        <a:lnTo>
                          <a:pt x="0" y="1142"/>
                        </a:lnTo>
                        <a:lnTo>
                          <a:pt x="348" y="0"/>
                        </a:lnTo>
                        <a:lnTo>
                          <a:pt x="366" y="0"/>
                        </a:lnTo>
                        <a:lnTo>
                          <a:pt x="12" y="1148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0" name="Freeform 76">
                    <a:extLst>
                      <a:ext uri="{FF2B5EF4-FFF2-40B4-BE49-F238E27FC236}">
                        <a16:creationId xmlns:a16="http://schemas.microsoft.com/office/drawing/2014/main" id="{14B8E187-8754-A9A5-91E0-9437D8EA36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10898" y="1872450"/>
                    <a:ext cx="232282" cy="232282"/>
                  </a:xfrm>
                  <a:custGeom>
                    <a:avLst/>
                    <a:gdLst>
                      <a:gd name="T0" fmla="*/ 12 w 300"/>
                      <a:gd name="T1" fmla="*/ 300 h 300"/>
                      <a:gd name="T2" fmla="*/ 0 w 300"/>
                      <a:gd name="T3" fmla="*/ 288 h 300"/>
                      <a:gd name="T4" fmla="*/ 288 w 300"/>
                      <a:gd name="T5" fmla="*/ 0 h 300"/>
                      <a:gd name="T6" fmla="*/ 300 w 300"/>
                      <a:gd name="T7" fmla="*/ 12 h 300"/>
                      <a:gd name="T8" fmla="*/ 12 w 300"/>
                      <a:gd name="T9" fmla="*/ 300 h 3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0" h="300">
                        <a:moveTo>
                          <a:pt x="12" y="300"/>
                        </a:moveTo>
                        <a:lnTo>
                          <a:pt x="0" y="288"/>
                        </a:lnTo>
                        <a:lnTo>
                          <a:pt x="288" y="0"/>
                        </a:lnTo>
                        <a:lnTo>
                          <a:pt x="300" y="12"/>
                        </a:lnTo>
                        <a:lnTo>
                          <a:pt x="12" y="30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1" name="Freeform 77">
                    <a:extLst>
                      <a:ext uri="{FF2B5EF4-FFF2-40B4-BE49-F238E27FC236}">
                        <a16:creationId xmlns:a16="http://schemas.microsoft.com/office/drawing/2014/main" id="{9C20C159-7F32-0E6E-6BB7-7A843E5937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493591" y="3272342"/>
                    <a:ext cx="78976" cy="422755"/>
                  </a:xfrm>
                  <a:custGeom>
                    <a:avLst/>
                    <a:gdLst>
                      <a:gd name="T0" fmla="*/ 84 w 102"/>
                      <a:gd name="T1" fmla="*/ 546 h 546"/>
                      <a:gd name="T2" fmla="*/ 0 w 102"/>
                      <a:gd name="T3" fmla="*/ 6 h 546"/>
                      <a:gd name="T4" fmla="*/ 12 w 102"/>
                      <a:gd name="T5" fmla="*/ 0 h 546"/>
                      <a:gd name="T6" fmla="*/ 102 w 102"/>
                      <a:gd name="T7" fmla="*/ 540 h 546"/>
                      <a:gd name="T8" fmla="*/ 84 w 102"/>
                      <a:gd name="T9" fmla="*/ 546 h 5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2" h="546">
                        <a:moveTo>
                          <a:pt x="84" y="546"/>
                        </a:moveTo>
                        <a:lnTo>
                          <a:pt x="0" y="6"/>
                        </a:lnTo>
                        <a:lnTo>
                          <a:pt x="12" y="0"/>
                        </a:lnTo>
                        <a:lnTo>
                          <a:pt x="102" y="540"/>
                        </a:lnTo>
                        <a:lnTo>
                          <a:pt x="84" y="546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2" name="Freeform 78">
                    <a:extLst>
                      <a:ext uri="{FF2B5EF4-FFF2-40B4-BE49-F238E27FC236}">
                        <a16:creationId xmlns:a16="http://schemas.microsoft.com/office/drawing/2014/main" id="{EA1FE7A2-7A22-98E3-50EC-8A8D11B7A0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81558" y="3806592"/>
                    <a:ext cx="344553" cy="502506"/>
                  </a:xfrm>
                  <a:custGeom>
                    <a:avLst/>
                    <a:gdLst>
                      <a:gd name="T0" fmla="*/ 12 w 445"/>
                      <a:gd name="T1" fmla="*/ 649 h 649"/>
                      <a:gd name="T2" fmla="*/ 0 w 445"/>
                      <a:gd name="T3" fmla="*/ 643 h 649"/>
                      <a:gd name="T4" fmla="*/ 433 w 445"/>
                      <a:gd name="T5" fmla="*/ 0 h 649"/>
                      <a:gd name="T6" fmla="*/ 445 w 445"/>
                      <a:gd name="T7" fmla="*/ 12 h 649"/>
                      <a:gd name="T8" fmla="*/ 12 w 445"/>
                      <a:gd name="T9" fmla="*/ 649 h 6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45" h="649">
                        <a:moveTo>
                          <a:pt x="12" y="649"/>
                        </a:moveTo>
                        <a:lnTo>
                          <a:pt x="0" y="643"/>
                        </a:lnTo>
                        <a:lnTo>
                          <a:pt x="433" y="0"/>
                        </a:lnTo>
                        <a:lnTo>
                          <a:pt x="445" y="12"/>
                        </a:lnTo>
                        <a:lnTo>
                          <a:pt x="12" y="649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3" name="Freeform 79">
                    <a:extLst>
                      <a:ext uri="{FF2B5EF4-FFF2-40B4-BE49-F238E27FC236}">
                        <a16:creationId xmlns:a16="http://schemas.microsoft.com/office/drawing/2014/main" id="{8FE62AD5-0BE7-051A-7D11-40CD905791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52017" y="1002938"/>
                    <a:ext cx="250866" cy="367007"/>
                  </a:xfrm>
                  <a:custGeom>
                    <a:avLst/>
                    <a:gdLst>
                      <a:gd name="T0" fmla="*/ 2 w 54"/>
                      <a:gd name="T1" fmla="*/ 79 h 79"/>
                      <a:gd name="T2" fmla="*/ 1 w 54"/>
                      <a:gd name="T3" fmla="*/ 79 h 79"/>
                      <a:gd name="T4" fmla="*/ 1 w 54"/>
                      <a:gd name="T5" fmla="*/ 76 h 79"/>
                      <a:gd name="T6" fmla="*/ 50 w 54"/>
                      <a:gd name="T7" fmla="*/ 2 h 79"/>
                      <a:gd name="T8" fmla="*/ 53 w 54"/>
                      <a:gd name="T9" fmla="*/ 1 h 79"/>
                      <a:gd name="T10" fmla="*/ 53 w 54"/>
                      <a:gd name="T11" fmla="*/ 4 h 79"/>
                      <a:gd name="T12" fmla="*/ 4 w 54"/>
                      <a:gd name="T13" fmla="*/ 78 h 79"/>
                      <a:gd name="T14" fmla="*/ 2 w 54"/>
                      <a:gd name="T15" fmla="*/ 79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4" h="79">
                        <a:moveTo>
                          <a:pt x="2" y="79"/>
                        </a:moveTo>
                        <a:cubicBezTo>
                          <a:pt x="2" y="79"/>
                          <a:pt x="2" y="79"/>
                          <a:pt x="1" y="79"/>
                        </a:cubicBezTo>
                        <a:cubicBezTo>
                          <a:pt x="0" y="78"/>
                          <a:pt x="0" y="77"/>
                          <a:pt x="1" y="76"/>
                        </a:cubicBezTo>
                        <a:cubicBezTo>
                          <a:pt x="50" y="2"/>
                          <a:pt x="50" y="2"/>
                          <a:pt x="50" y="2"/>
                        </a:cubicBezTo>
                        <a:cubicBezTo>
                          <a:pt x="51" y="1"/>
                          <a:pt x="52" y="0"/>
                          <a:pt x="53" y="1"/>
                        </a:cubicBezTo>
                        <a:cubicBezTo>
                          <a:pt x="54" y="2"/>
                          <a:pt x="54" y="3"/>
                          <a:pt x="53" y="4"/>
                        </a:cubicBezTo>
                        <a:cubicBezTo>
                          <a:pt x="4" y="78"/>
                          <a:pt x="4" y="78"/>
                          <a:pt x="4" y="78"/>
                        </a:cubicBezTo>
                        <a:cubicBezTo>
                          <a:pt x="4" y="79"/>
                          <a:pt x="3" y="79"/>
                          <a:pt x="2" y="79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4" name="Freeform 80">
                    <a:extLst>
                      <a:ext uri="{FF2B5EF4-FFF2-40B4-BE49-F238E27FC236}">
                        <a16:creationId xmlns:a16="http://schemas.microsoft.com/office/drawing/2014/main" id="{01A6B7FB-93D4-2336-CE73-A19AF855CF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19196" y="1225930"/>
                    <a:ext cx="348424" cy="171889"/>
                  </a:xfrm>
                  <a:custGeom>
                    <a:avLst/>
                    <a:gdLst>
                      <a:gd name="T0" fmla="*/ 73 w 75"/>
                      <a:gd name="T1" fmla="*/ 37 h 37"/>
                      <a:gd name="T2" fmla="*/ 72 w 75"/>
                      <a:gd name="T3" fmla="*/ 36 h 37"/>
                      <a:gd name="T4" fmla="*/ 1 w 75"/>
                      <a:gd name="T5" fmla="*/ 4 h 37"/>
                      <a:gd name="T6" fmla="*/ 0 w 75"/>
                      <a:gd name="T7" fmla="*/ 2 h 37"/>
                      <a:gd name="T8" fmla="*/ 3 w 75"/>
                      <a:gd name="T9" fmla="*/ 1 h 37"/>
                      <a:gd name="T10" fmla="*/ 73 w 75"/>
                      <a:gd name="T11" fmla="*/ 33 h 37"/>
                      <a:gd name="T12" fmla="*/ 74 w 75"/>
                      <a:gd name="T13" fmla="*/ 35 h 37"/>
                      <a:gd name="T14" fmla="*/ 73 w 75"/>
                      <a:gd name="T15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5" h="37">
                        <a:moveTo>
                          <a:pt x="73" y="37"/>
                        </a:moveTo>
                        <a:cubicBezTo>
                          <a:pt x="72" y="37"/>
                          <a:pt x="72" y="37"/>
                          <a:pt x="72" y="36"/>
                        </a:cubicBezTo>
                        <a:cubicBezTo>
                          <a:pt x="1" y="4"/>
                          <a:pt x="1" y="4"/>
                          <a:pt x="1" y="4"/>
                        </a:cubicBezTo>
                        <a:cubicBezTo>
                          <a:pt x="0" y="4"/>
                          <a:pt x="0" y="3"/>
                          <a:pt x="0" y="2"/>
                        </a:cubicBezTo>
                        <a:cubicBezTo>
                          <a:pt x="1" y="1"/>
                          <a:pt x="2" y="0"/>
                          <a:pt x="3" y="1"/>
                        </a:cubicBezTo>
                        <a:cubicBezTo>
                          <a:pt x="73" y="33"/>
                          <a:pt x="73" y="33"/>
                          <a:pt x="73" y="33"/>
                        </a:cubicBezTo>
                        <a:cubicBezTo>
                          <a:pt x="74" y="33"/>
                          <a:pt x="75" y="34"/>
                          <a:pt x="74" y="35"/>
                        </a:cubicBezTo>
                        <a:cubicBezTo>
                          <a:pt x="74" y="36"/>
                          <a:pt x="73" y="37"/>
                          <a:pt x="73" y="37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5" name="Freeform 81">
                    <a:extLst>
                      <a:ext uri="{FF2B5EF4-FFF2-40B4-BE49-F238E27FC236}">
                        <a16:creationId xmlns:a16="http://schemas.microsoft.com/office/drawing/2014/main" id="{3086138D-D13D-7C25-A2C9-B57F0993F7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58329" y="1472923"/>
                    <a:ext cx="74330" cy="334487"/>
                  </a:xfrm>
                  <a:custGeom>
                    <a:avLst/>
                    <a:gdLst>
                      <a:gd name="T0" fmla="*/ 2 w 16"/>
                      <a:gd name="T1" fmla="*/ 72 h 72"/>
                      <a:gd name="T2" fmla="*/ 2 w 16"/>
                      <a:gd name="T3" fmla="*/ 72 h 72"/>
                      <a:gd name="T4" fmla="*/ 0 w 16"/>
                      <a:gd name="T5" fmla="*/ 69 h 72"/>
                      <a:gd name="T6" fmla="*/ 12 w 16"/>
                      <a:gd name="T7" fmla="*/ 1 h 72"/>
                      <a:gd name="T8" fmla="*/ 15 w 16"/>
                      <a:gd name="T9" fmla="*/ 0 h 72"/>
                      <a:gd name="T10" fmla="*/ 16 w 16"/>
                      <a:gd name="T11" fmla="*/ 2 h 72"/>
                      <a:gd name="T12" fmla="*/ 4 w 16"/>
                      <a:gd name="T13" fmla="*/ 70 h 72"/>
                      <a:gd name="T14" fmla="*/ 2 w 16"/>
                      <a:gd name="T15" fmla="*/ 72 h 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72">
                        <a:moveTo>
                          <a:pt x="2" y="72"/>
                        </a:moveTo>
                        <a:cubicBezTo>
                          <a:pt x="2" y="72"/>
                          <a:pt x="2" y="72"/>
                          <a:pt x="2" y="72"/>
                        </a:cubicBezTo>
                        <a:cubicBezTo>
                          <a:pt x="1" y="71"/>
                          <a:pt x="0" y="70"/>
                          <a:pt x="0" y="69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cubicBezTo>
                          <a:pt x="13" y="0"/>
                          <a:pt x="14" y="0"/>
                          <a:pt x="15" y="0"/>
                        </a:cubicBezTo>
                        <a:cubicBezTo>
                          <a:pt x="16" y="0"/>
                          <a:pt x="16" y="1"/>
                          <a:pt x="16" y="2"/>
                        </a:cubicBezTo>
                        <a:cubicBezTo>
                          <a:pt x="4" y="70"/>
                          <a:pt x="4" y="70"/>
                          <a:pt x="4" y="70"/>
                        </a:cubicBezTo>
                        <a:cubicBezTo>
                          <a:pt x="4" y="71"/>
                          <a:pt x="3" y="72"/>
                          <a:pt x="2" y="72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6" name="Freeform 82">
                    <a:extLst>
                      <a:ext uri="{FF2B5EF4-FFF2-40B4-BE49-F238E27FC236}">
                        <a16:creationId xmlns:a16="http://schemas.microsoft.com/office/drawing/2014/main" id="{60DC60CC-EB1B-BCD0-E97F-768F13F18D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711937" y="942545"/>
                    <a:ext cx="348424" cy="348424"/>
                  </a:xfrm>
                  <a:custGeom>
                    <a:avLst/>
                    <a:gdLst>
                      <a:gd name="T0" fmla="*/ 73 w 75"/>
                      <a:gd name="T1" fmla="*/ 75 h 75"/>
                      <a:gd name="T2" fmla="*/ 71 w 75"/>
                      <a:gd name="T3" fmla="*/ 74 h 75"/>
                      <a:gd name="T4" fmla="*/ 1 w 75"/>
                      <a:gd name="T5" fmla="*/ 4 h 75"/>
                      <a:gd name="T6" fmla="*/ 1 w 75"/>
                      <a:gd name="T7" fmla="*/ 1 h 75"/>
                      <a:gd name="T8" fmla="*/ 3 w 75"/>
                      <a:gd name="T9" fmla="*/ 1 h 75"/>
                      <a:gd name="T10" fmla="*/ 74 w 75"/>
                      <a:gd name="T11" fmla="*/ 72 h 75"/>
                      <a:gd name="T12" fmla="*/ 74 w 75"/>
                      <a:gd name="T13" fmla="*/ 74 h 75"/>
                      <a:gd name="T14" fmla="*/ 73 w 75"/>
                      <a:gd name="T15" fmla="*/ 75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5" h="75">
                        <a:moveTo>
                          <a:pt x="73" y="75"/>
                        </a:moveTo>
                        <a:cubicBezTo>
                          <a:pt x="72" y="75"/>
                          <a:pt x="72" y="75"/>
                          <a:pt x="71" y="74"/>
                        </a:cubicBezTo>
                        <a:cubicBezTo>
                          <a:pt x="1" y="4"/>
                          <a:pt x="1" y="4"/>
                          <a:pt x="1" y="4"/>
                        </a:cubicBezTo>
                        <a:cubicBezTo>
                          <a:pt x="0" y="3"/>
                          <a:pt x="0" y="2"/>
                          <a:pt x="1" y="1"/>
                        </a:cubicBezTo>
                        <a:cubicBezTo>
                          <a:pt x="1" y="0"/>
                          <a:pt x="3" y="0"/>
                          <a:pt x="3" y="1"/>
                        </a:cubicBezTo>
                        <a:cubicBezTo>
                          <a:pt x="74" y="72"/>
                          <a:pt x="74" y="72"/>
                          <a:pt x="74" y="72"/>
                        </a:cubicBezTo>
                        <a:cubicBezTo>
                          <a:pt x="75" y="72"/>
                          <a:pt x="75" y="74"/>
                          <a:pt x="74" y="74"/>
                        </a:cubicBezTo>
                        <a:cubicBezTo>
                          <a:pt x="74" y="75"/>
                          <a:pt x="73" y="75"/>
                          <a:pt x="73" y="75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7" name="Freeform 83">
                    <a:extLst>
                      <a:ext uri="{FF2B5EF4-FFF2-40B4-BE49-F238E27FC236}">
                        <a16:creationId xmlns:a16="http://schemas.microsoft.com/office/drawing/2014/main" id="{F31836DC-E5F5-8EFA-FC29-8499242613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60834" y="519015"/>
                    <a:ext cx="157952" cy="195892"/>
                  </a:xfrm>
                  <a:custGeom>
                    <a:avLst/>
                    <a:gdLst>
                      <a:gd name="T0" fmla="*/ 2 w 34"/>
                      <a:gd name="T1" fmla="*/ 42 h 42"/>
                      <a:gd name="T2" fmla="*/ 1 w 34"/>
                      <a:gd name="T3" fmla="*/ 42 h 42"/>
                      <a:gd name="T4" fmla="*/ 1 w 34"/>
                      <a:gd name="T5" fmla="*/ 39 h 42"/>
                      <a:gd name="T6" fmla="*/ 30 w 34"/>
                      <a:gd name="T7" fmla="*/ 1 h 42"/>
                      <a:gd name="T8" fmla="*/ 33 w 34"/>
                      <a:gd name="T9" fmla="*/ 1 h 42"/>
                      <a:gd name="T10" fmla="*/ 33 w 34"/>
                      <a:gd name="T11" fmla="*/ 4 h 42"/>
                      <a:gd name="T12" fmla="*/ 4 w 34"/>
                      <a:gd name="T13" fmla="*/ 41 h 42"/>
                      <a:gd name="T14" fmla="*/ 2 w 34"/>
                      <a:gd name="T15" fmla="*/ 4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4" h="42">
                        <a:moveTo>
                          <a:pt x="2" y="42"/>
                        </a:moveTo>
                        <a:cubicBezTo>
                          <a:pt x="2" y="42"/>
                          <a:pt x="1" y="42"/>
                          <a:pt x="1" y="42"/>
                        </a:cubicBezTo>
                        <a:cubicBezTo>
                          <a:pt x="0" y="41"/>
                          <a:pt x="0" y="40"/>
                          <a:pt x="1" y="39"/>
                        </a:cubicBezTo>
                        <a:cubicBezTo>
                          <a:pt x="30" y="1"/>
                          <a:pt x="30" y="1"/>
                          <a:pt x="30" y="1"/>
                        </a:cubicBezTo>
                        <a:cubicBezTo>
                          <a:pt x="31" y="1"/>
                          <a:pt x="32" y="0"/>
                          <a:pt x="33" y="1"/>
                        </a:cubicBezTo>
                        <a:cubicBezTo>
                          <a:pt x="34" y="2"/>
                          <a:pt x="34" y="3"/>
                          <a:pt x="33" y="4"/>
                        </a:cubicBezTo>
                        <a:cubicBezTo>
                          <a:pt x="4" y="41"/>
                          <a:pt x="4" y="41"/>
                          <a:pt x="4" y="41"/>
                        </a:cubicBezTo>
                        <a:cubicBezTo>
                          <a:pt x="4" y="42"/>
                          <a:pt x="3" y="42"/>
                          <a:pt x="2" y="42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8" name="Freeform 84">
                    <a:extLst>
                      <a:ext uri="{FF2B5EF4-FFF2-40B4-BE49-F238E27FC236}">
                        <a16:creationId xmlns:a16="http://schemas.microsoft.com/office/drawing/2014/main" id="{ADC25FF1-54A3-0402-7B62-22448AE34B3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40803" y="472558"/>
                    <a:ext cx="60393" cy="265577"/>
                  </a:xfrm>
                  <a:custGeom>
                    <a:avLst/>
                    <a:gdLst>
                      <a:gd name="T0" fmla="*/ 2 w 13"/>
                      <a:gd name="T1" fmla="*/ 57 h 57"/>
                      <a:gd name="T2" fmla="*/ 2 w 13"/>
                      <a:gd name="T3" fmla="*/ 57 h 57"/>
                      <a:gd name="T4" fmla="*/ 0 w 13"/>
                      <a:gd name="T5" fmla="*/ 54 h 57"/>
                      <a:gd name="T6" fmla="*/ 9 w 13"/>
                      <a:gd name="T7" fmla="*/ 2 h 57"/>
                      <a:gd name="T8" fmla="*/ 12 w 13"/>
                      <a:gd name="T9" fmla="*/ 0 h 57"/>
                      <a:gd name="T10" fmla="*/ 13 w 13"/>
                      <a:gd name="T11" fmla="*/ 2 h 57"/>
                      <a:gd name="T12" fmla="*/ 4 w 13"/>
                      <a:gd name="T13" fmla="*/ 55 h 57"/>
                      <a:gd name="T14" fmla="*/ 2 w 13"/>
                      <a:gd name="T15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3" h="57">
                        <a:moveTo>
                          <a:pt x="2" y="57"/>
                        </a:moveTo>
                        <a:cubicBezTo>
                          <a:pt x="2" y="57"/>
                          <a:pt x="2" y="57"/>
                          <a:pt x="2" y="57"/>
                        </a:cubicBezTo>
                        <a:cubicBezTo>
                          <a:pt x="1" y="56"/>
                          <a:pt x="0" y="55"/>
                          <a:pt x="0" y="54"/>
                        </a:cubicBezTo>
                        <a:cubicBezTo>
                          <a:pt x="9" y="2"/>
                          <a:pt x="9" y="2"/>
                          <a:pt x="9" y="2"/>
                        </a:cubicBezTo>
                        <a:cubicBezTo>
                          <a:pt x="10" y="1"/>
                          <a:pt x="11" y="0"/>
                          <a:pt x="12" y="0"/>
                        </a:cubicBezTo>
                        <a:cubicBezTo>
                          <a:pt x="13" y="0"/>
                          <a:pt x="13" y="1"/>
                          <a:pt x="13" y="2"/>
                        </a:cubicBezTo>
                        <a:cubicBezTo>
                          <a:pt x="4" y="55"/>
                          <a:pt x="4" y="55"/>
                          <a:pt x="4" y="55"/>
                        </a:cubicBezTo>
                        <a:cubicBezTo>
                          <a:pt x="4" y="56"/>
                          <a:pt x="3" y="57"/>
                          <a:pt x="2" y="57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9" name="Freeform 85">
                    <a:extLst>
                      <a:ext uri="{FF2B5EF4-FFF2-40B4-BE49-F238E27FC236}">
                        <a16:creationId xmlns:a16="http://schemas.microsoft.com/office/drawing/2014/main" id="{7C846F42-F597-3AF1-2F85-A26A25E021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08046" y="779947"/>
                    <a:ext cx="269448" cy="78976"/>
                  </a:xfrm>
                  <a:custGeom>
                    <a:avLst/>
                    <a:gdLst>
                      <a:gd name="T0" fmla="*/ 2 w 58"/>
                      <a:gd name="T1" fmla="*/ 17 h 17"/>
                      <a:gd name="T2" fmla="*/ 0 w 58"/>
                      <a:gd name="T3" fmla="*/ 15 h 17"/>
                      <a:gd name="T4" fmla="*/ 2 w 58"/>
                      <a:gd name="T5" fmla="*/ 13 h 17"/>
                      <a:gd name="T6" fmla="*/ 55 w 58"/>
                      <a:gd name="T7" fmla="*/ 1 h 17"/>
                      <a:gd name="T8" fmla="*/ 57 w 58"/>
                      <a:gd name="T9" fmla="*/ 2 h 17"/>
                      <a:gd name="T10" fmla="*/ 56 w 58"/>
                      <a:gd name="T11" fmla="*/ 5 h 17"/>
                      <a:gd name="T12" fmla="*/ 2 w 58"/>
                      <a:gd name="T13" fmla="*/ 17 h 17"/>
                      <a:gd name="T14" fmla="*/ 2 w 58"/>
                      <a:gd name="T15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8" h="17">
                        <a:moveTo>
                          <a:pt x="2" y="17"/>
                        </a:moveTo>
                        <a:cubicBezTo>
                          <a:pt x="1" y="17"/>
                          <a:pt x="0" y="16"/>
                          <a:pt x="0" y="15"/>
                        </a:cubicBezTo>
                        <a:cubicBezTo>
                          <a:pt x="0" y="14"/>
                          <a:pt x="0" y="13"/>
                          <a:pt x="2" y="13"/>
                        </a:cubicBezTo>
                        <a:cubicBezTo>
                          <a:pt x="55" y="1"/>
                          <a:pt x="55" y="1"/>
                          <a:pt x="55" y="1"/>
                        </a:cubicBezTo>
                        <a:cubicBezTo>
                          <a:pt x="56" y="0"/>
                          <a:pt x="57" y="1"/>
                          <a:pt x="57" y="2"/>
                        </a:cubicBezTo>
                        <a:cubicBezTo>
                          <a:pt x="58" y="3"/>
                          <a:pt x="57" y="4"/>
                          <a:pt x="56" y="5"/>
                        </a:cubicBezTo>
                        <a:cubicBezTo>
                          <a:pt x="2" y="17"/>
                          <a:pt x="2" y="17"/>
                          <a:pt x="2" y="17"/>
                        </a:cubicBezTo>
                        <a:cubicBezTo>
                          <a:pt x="2" y="17"/>
                          <a:pt x="2" y="17"/>
                          <a:pt x="2" y="17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0" name="Freeform 86">
                    <a:extLst>
                      <a:ext uri="{FF2B5EF4-FFF2-40B4-BE49-F238E27FC236}">
                        <a16:creationId xmlns:a16="http://schemas.microsoft.com/office/drawing/2014/main" id="{06FBD02D-C3FB-02C2-A9B2-9481E9B2F2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15069" y="1956072"/>
                    <a:ext cx="144016" cy="618647"/>
                  </a:xfrm>
                  <a:custGeom>
                    <a:avLst/>
                    <a:gdLst>
                      <a:gd name="T0" fmla="*/ 28 w 31"/>
                      <a:gd name="T1" fmla="*/ 133 h 133"/>
                      <a:gd name="T2" fmla="*/ 26 w 31"/>
                      <a:gd name="T3" fmla="*/ 131 h 133"/>
                      <a:gd name="T4" fmla="*/ 0 w 31"/>
                      <a:gd name="T5" fmla="*/ 3 h 133"/>
                      <a:gd name="T6" fmla="*/ 2 w 31"/>
                      <a:gd name="T7" fmla="*/ 0 h 133"/>
                      <a:gd name="T8" fmla="*/ 4 w 31"/>
                      <a:gd name="T9" fmla="*/ 2 h 133"/>
                      <a:gd name="T10" fmla="*/ 30 w 31"/>
                      <a:gd name="T11" fmla="*/ 131 h 133"/>
                      <a:gd name="T12" fmla="*/ 29 w 31"/>
                      <a:gd name="T13" fmla="*/ 133 h 133"/>
                      <a:gd name="T14" fmla="*/ 28 w 31"/>
                      <a:gd name="T15" fmla="*/ 133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1" h="133">
                        <a:moveTo>
                          <a:pt x="28" y="133"/>
                        </a:moveTo>
                        <a:cubicBezTo>
                          <a:pt x="27" y="133"/>
                          <a:pt x="27" y="132"/>
                          <a:pt x="26" y="131"/>
                        </a:cubicBezTo>
                        <a:cubicBezTo>
                          <a:pt x="0" y="3"/>
                          <a:pt x="0" y="3"/>
                          <a:pt x="0" y="3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4" y="2"/>
                        </a:cubicBezTo>
                        <a:cubicBezTo>
                          <a:pt x="30" y="131"/>
                          <a:pt x="30" y="131"/>
                          <a:pt x="30" y="131"/>
                        </a:cubicBezTo>
                        <a:cubicBezTo>
                          <a:pt x="31" y="132"/>
                          <a:pt x="30" y="133"/>
                          <a:pt x="29" y="133"/>
                        </a:cubicBezTo>
                        <a:cubicBezTo>
                          <a:pt x="29" y="133"/>
                          <a:pt x="28" y="133"/>
                          <a:pt x="28" y="13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1" name="Freeform 87">
                    <a:extLst>
                      <a:ext uri="{FF2B5EF4-FFF2-40B4-BE49-F238E27FC236}">
                        <a16:creationId xmlns:a16="http://schemas.microsoft.com/office/drawing/2014/main" id="{F632EA26-4AB2-033A-64D3-4F75791CA0B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00896" y="2593301"/>
                    <a:ext cx="446758" cy="41811"/>
                  </a:xfrm>
                  <a:custGeom>
                    <a:avLst/>
                    <a:gdLst>
                      <a:gd name="T0" fmla="*/ 2 w 96"/>
                      <a:gd name="T1" fmla="*/ 9 h 9"/>
                      <a:gd name="T2" fmla="*/ 0 w 96"/>
                      <a:gd name="T3" fmla="*/ 7 h 9"/>
                      <a:gd name="T4" fmla="*/ 2 w 96"/>
                      <a:gd name="T5" fmla="*/ 5 h 9"/>
                      <a:gd name="T6" fmla="*/ 94 w 96"/>
                      <a:gd name="T7" fmla="*/ 0 h 9"/>
                      <a:gd name="T8" fmla="*/ 96 w 96"/>
                      <a:gd name="T9" fmla="*/ 2 h 9"/>
                      <a:gd name="T10" fmla="*/ 94 w 96"/>
                      <a:gd name="T11" fmla="*/ 4 h 9"/>
                      <a:gd name="T12" fmla="*/ 2 w 96"/>
                      <a:gd name="T13" fmla="*/ 9 h 9"/>
                      <a:gd name="T14" fmla="*/ 2 w 96"/>
                      <a:gd name="T15" fmla="*/ 9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6" h="9">
                        <a:moveTo>
                          <a:pt x="2" y="9"/>
                        </a:moveTo>
                        <a:cubicBezTo>
                          <a:pt x="1" y="9"/>
                          <a:pt x="0" y="9"/>
                          <a:pt x="0" y="7"/>
                        </a:cubicBezTo>
                        <a:cubicBezTo>
                          <a:pt x="0" y="6"/>
                          <a:pt x="0" y="5"/>
                          <a:pt x="2" y="5"/>
                        </a:cubicBez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95" y="0"/>
                          <a:pt x="96" y="1"/>
                          <a:pt x="96" y="2"/>
                        </a:cubicBezTo>
                        <a:cubicBezTo>
                          <a:pt x="96" y="3"/>
                          <a:pt x="95" y="4"/>
                          <a:pt x="94" y="4"/>
                        </a:cubicBezTo>
                        <a:cubicBezTo>
                          <a:pt x="2" y="9"/>
                          <a:pt x="2" y="9"/>
                          <a:pt x="2" y="9"/>
                        </a:cubicBezTo>
                        <a:cubicBezTo>
                          <a:pt x="2" y="9"/>
                          <a:pt x="2" y="9"/>
                          <a:pt x="2" y="9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2" name="Freeform 88">
                    <a:extLst>
                      <a:ext uri="{FF2B5EF4-FFF2-40B4-BE49-F238E27FC236}">
                        <a16:creationId xmlns:a16="http://schemas.microsoft.com/office/drawing/2014/main" id="{3F73A5CA-3582-D7C6-19C1-A08DF417AEA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5857" y="2681569"/>
                    <a:ext cx="74330" cy="706915"/>
                  </a:xfrm>
                  <a:custGeom>
                    <a:avLst/>
                    <a:gdLst>
                      <a:gd name="T0" fmla="*/ 14 w 16"/>
                      <a:gd name="T1" fmla="*/ 152 h 152"/>
                      <a:gd name="T2" fmla="*/ 12 w 16"/>
                      <a:gd name="T3" fmla="*/ 150 h 152"/>
                      <a:gd name="T4" fmla="*/ 0 w 16"/>
                      <a:gd name="T5" fmla="*/ 2 h 152"/>
                      <a:gd name="T6" fmla="*/ 2 w 16"/>
                      <a:gd name="T7" fmla="*/ 0 h 152"/>
                      <a:gd name="T8" fmla="*/ 4 w 16"/>
                      <a:gd name="T9" fmla="*/ 2 h 152"/>
                      <a:gd name="T10" fmla="*/ 16 w 16"/>
                      <a:gd name="T11" fmla="*/ 150 h 152"/>
                      <a:gd name="T12" fmla="*/ 14 w 16"/>
                      <a:gd name="T13" fmla="*/ 152 h 152"/>
                      <a:gd name="T14" fmla="*/ 14 w 16"/>
                      <a:gd name="T15" fmla="*/ 152 h 1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" h="152">
                        <a:moveTo>
                          <a:pt x="14" y="152"/>
                        </a:moveTo>
                        <a:cubicBezTo>
                          <a:pt x="13" y="152"/>
                          <a:pt x="12" y="151"/>
                          <a:pt x="12" y="150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3" y="0"/>
                          <a:pt x="4" y="0"/>
                          <a:pt x="4" y="2"/>
                        </a:cubicBezTo>
                        <a:cubicBezTo>
                          <a:pt x="16" y="150"/>
                          <a:pt x="16" y="150"/>
                          <a:pt x="16" y="150"/>
                        </a:cubicBezTo>
                        <a:cubicBezTo>
                          <a:pt x="16" y="151"/>
                          <a:pt x="16" y="152"/>
                          <a:pt x="14" y="152"/>
                        </a:cubicBezTo>
                        <a:cubicBezTo>
                          <a:pt x="14" y="152"/>
                          <a:pt x="14" y="152"/>
                          <a:pt x="14" y="152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3" name="Freeform 89">
                    <a:extLst>
                      <a:ext uri="{FF2B5EF4-FFF2-40B4-BE49-F238E27FC236}">
                        <a16:creationId xmlns:a16="http://schemas.microsoft.com/office/drawing/2014/main" id="{EE8993E3-977F-FA8A-94A4-5DB754671D6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57354" y="2658341"/>
                    <a:ext cx="445983" cy="399526"/>
                  </a:xfrm>
                  <a:custGeom>
                    <a:avLst/>
                    <a:gdLst>
                      <a:gd name="T0" fmla="*/ 2 w 96"/>
                      <a:gd name="T1" fmla="*/ 86 h 86"/>
                      <a:gd name="T2" fmla="*/ 1 w 96"/>
                      <a:gd name="T3" fmla="*/ 86 h 86"/>
                      <a:gd name="T4" fmla="*/ 1 w 96"/>
                      <a:gd name="T5" fmla="*/ 83 h 86"/>
                      <a:gd name="T6" fmla="*/ 92 w 96"/>
                      <a:gd name="T7" fmla="*/ 1 h 86"/>
                      <a:gd name="T8" fmla="*/ 95 w 96"/>
                      <a:gd name="T9" fmla="*/ 1 h 86"/>
                      <a:gd name="T10" fmla="*/ 95 w 96"/>
                      <a:gd name="T11" fmla="*/ 4 h 86"/>
                      <a:gd name="T12" fmla="*/ 4 w 96"/>
                      <a:gd name="T13" fmla="*/ 86 h 86"/>
                      <a:gd name="T14" fmla="*/ 2 w 96"/>
                      <a:gd name="T15" fmla="*/ 86 h 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6" h="86">
                        <a:moveTo>
                          <a:pt x="2" y="86"/>
                        </a:moveTo>
                        <a:cubicBezTo>
                          <a:pt x="2" y="86"/>
                          <a:pt x="1" y="86"/>
                          <a:pt x="1" y="86"/>
                        </a:cubicBezTo>
                        <a:cubicBezTo>
                          <a:pt x="0" y="85"/>
                          <a:pt x="0" y="84"/>
                          <a:pt x="1" y="83"/>
                        </a:cubicBezTo>
                        <a:cubicBezTo>
                          <a:pt x="92" y="1"/>
                          <a:pt x="92" y="1"/>
                          <a:pt x="92" y="1"/>
                        </a:cubicBezTo>
                        <a:cubicBezTo>
                          <a:pt x="93" y="0"/>
                          <a:pt x="94" y="1"/>
                          <a:pt x="95" y="1"/>
                        </a:cubicBezTo>
                        <a:cubicBezTo>
                          <a:pt x="96" y="2"/>
                          <a:pt x="95" y="3"/>
                          <a:pt x="95" y="4"/>
                        </a:cubicBezTo>
                        <a:cubicBezTo>
                          <a:pt x="4" y="86"/>
                          <a:pt x="4" y="86"/>
                          <a:pt x="4" y="86"/>
                        </a:cubicBezTo>
                        <a:cubicBezTo>
                          <a:pt x="3" y="86"/>
                          <a:pt x="3" y="86"/>
                          <a:pt x="2" y="8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4" name="Freeform 90">
                    <a:extLst>
                      <a:ext uri="{FF2B5EF4-FFF2-40B4-BE49-F238E27FC236}">
                        <a16:creationId xmlns:a16="http://schemas.microsoft.com/office/drawing/2014/main" id="{7B74197A-D688-1458-921B-B885CF49EF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51652" y="3662577"/>
                    <a:ext cx="246994" cy="227637"/>
                  </a:xfrm>
                  <a:custGeom>
                    <a:avLst/>
                    <a:gdLst>
                      <a:gd name="T0" fmla="*/ 2 w 53"/>
                      <a:gd name="T1" fmla="*/ 49 h 49"/>
                      <a:gd name="T2" fmla="*/ 1 w 53"/>
                      <a:gd name="T3" fmla="*/ 48 h 49"/>
                      <a:gd name="T4" fmla="*/ 1 w 53"/>
                      <a:gd name="T5" fmla="*/ 46 h 49"/>
                      <a:gd name="T6" fmla="*/ 49 w 53"/>
                      <a:gd name="T7" fmla="*/ 1 h 49"/>
                      <a:gd name="T8" fmla="*/ 52 w 53"/>
                      <a:gd name="T9" fmla="*/ 1 h 49"/>
                      <a:gd name="T10" fmla="*/ 52 w 53"/>
                      <a:gd name="T11" fmla="*/ 4 h 49"/>
                      <a:gd name="T12" fmla="*/ 4 w 53"/>
                      <a:gd name="T13" fmla="*/ 48 h 49"/>
                      <a:gd name="T14" fmla="*/ 2 w 53"/>
                      <a:gd name="T15" fmla="*/ 49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9">
                        <a:moveTo>
                          <a:pt x="2" y="49"/>
                        </a:moveTo>
                        <a:cubicBezTo>
                          <a:pt x="2" y="49"/>
                          <a:pt x="1" y="49"/>
                          <a:pt x="1" y="48"/>
                        </a:cubicBezTo>
                        <a:cubicBezTo>
                          <a:pt x="0" y="48"/>
                          <a:pt x="0" y="46"/>
                          <a:pt x="1" y="46"/>
                        </a:cubicBezTo>
                        <a:cubicBezTo>
                          <a:pt x="49" y="1"/>
                          <a:pt x="49" y="1"/>
                          <a:pt x="49" y="1"/>
                        </a:cubicBezTo>
                        <a:cubicBezTo>
                          <a:pt x="50" y="0"/>
                          <a:pt x="51" y="1"/>
                          <a:pt x="52" y="1"/>
                        </a:cubicBezTo>
                        <a:cubicBezTo>
                          <a:pt x="53" y="2"/>
                          <a:pt x="53" y="3"/>
                          <a:pt x="52" y="4"/>
                        </a:cubicBezTo>
                        <a:cubicBezTo>
                          <a:pt x="4" y="48"/>
                          <a:pt x="4" y="48"/>
                          <a:pt x="4" y="48"/>
                        </a:cubicBezTo>
                        <a:cubicBezTo>
                          <a:pt x="3" y="49"/>
                          <a:pt x="3" y="49"/>
                          <a:pt x="2" y="49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5" name="Freeform 91">
                    <a:extLst>
                      <a:ext uri="{FF2B5EF4-FFF2-40B4-BE49-F238E27FC236}">
                        <a16:creationId xmlns:a16="http://schemas.microsoft.com/office/drawing/2014/main" id="{E10907ED-C20B-7E4D-48E6-0B6C5AB834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61654" y="3936671"/>
                    <a:ext cx="432046" cy="47231"/>
                  </a:xfrm>
                  <a:custGeom>
                    <a:avLst/>
                    <a:gdLst>
                      <a:gd name="T0" fmla="*/ 91 w 93"/>
                      <a:gd name="T1" fmla="*/ 10 h 10"/>
                      <a:gd name="T2" fmla="*/ 91 w 93"/>
                      <a:gd name="T3" fmla="*/ 10 h 10"/>
                      <a:gd name="T4" fmla="*/ 2 w 93"/>
                      <a:gd name="T5" fmla="*/ 4 h 10"/>
                      <a:gd name="T6" fmla="*/ 0 w 93"/>
                      <a:gd name="T7" fmla="*/ 2 h 10"/>
                      <a:gd name="T8" fmla="*/ 2 w 93"/>
                      <a:gd name="T9" fmla="*/ 0 h 10"/>
                      <a:gd name="T10" fmla="*/ 91 w 93"/>
                      <a:gd name="T11" fmla="*/ 6 h 10"/>
                      <a:gd name="T12" fmla="*/ 93 w 93"/>
                      <a:gd name="T13" fmla="*/ 9 h 10"/>
                      <a:gd name="T14" fmla="*/ 91 w 93"/>
                      <a:gd name="T15" fmla="*/ 1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3" h="10">
                        <a:moveTo>
                          <a:pt x="91" y="10"/>
                        </a:moveTo>
                        <a:cubicBezTo>
                          <a:pt x="91" y="10"/>
                          <a:pt x="91" y="10"/>
                          <a:pt x="91" y="10"/>
                        </a:cubicBezTo>
                        <a:cubicBezTo>
                          <a:pt x="2" y="4"/>
                          <a:pt x="2" y="4"/>
                          <a:pt x="2" y="4"/>
                        </a:cubicBezTo>
                        <a:cubicBezTo>
                          <a:pt x="1" y="4"/>
                          <a:pt x="0" y="3"/>
                          <a:pt x="0" y="2"/>
                        </a:cubicBezTo>
                        <a:cubicBezTo>
                          <a:pt x="0" y="0"/>
                          <a:pt x="1" y="0"/>
                          <a:pt x="2" y="0"/>
                        </a:cubicBezTo>
                        <a:cubicBezTo>
                          <a:pt x="91" y="6"/>
                          <a:pt x="91" y="6"/>
                          <a:pt x="91" y="6"/>
                        </a:cubicBezTo>
                        <a:cubicBezTo>
                          <a:pt x="92" y="6"/>
                          <a:pt x="93" y="7"/>
                          <a:pt x="93" y="9"/>
                        </a:cubicBezTo>
                        <a:cubicBezTo>
                          <a:pt x="93" y="10"/>
                          <a:pt x="92" y="10"/>
                          <a:pt x="91" y="10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6" name="Freeform 92">
                    <a:extLst>
                      <a:ext uri="{FF2B5EF4-FFF2-40B4-BE49-F238E27FC236}">
                        <a16:creationId xmlns:a16="http://schemas.microsoft.com/office/drawing/2014/main" id="{8B20CC95-05EC-900C-E439-5BE91C78E6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26328" y="2802356"/>
                    <a:ext cx="446758" cy="623292"/>
                  </a:xfrm>
                  <a:custGeom>
                    <a:avLst/>
                    <a:gdLst>
                      <a:gd name="T0" fmla="*/ 3 w 96"/>
                      <a:gd name="T1" fmla="*/ 134 h 134"/>
                      <a:gd name="T2" fmla="*/ 2 w 96"/>
                      <a:gd name="T3" fmla="*/ 133 h 134"/>
                      <a:gd name="T4" fmla="*/ 1 w 96"/>
                      <a:gd name="T5" fmla="*/ 131 h 134"/>
                      <a:gd name="T6" fmla="*/ 92 w 96"/>
                      <a:gd name="T7" fmla="*/ 1 h 134"/>
                      <a:gd name="T8" fmla="*/ 94 w 96"/>
                      <a:gd name="T9" fmla="*/ 1 h 134"/>
                      <a:gd name="T10" fmla="*/ 95 w 96"/>
                      <a:gd name="T11" fmla="*/ 3 h 134"/>
                      <a:gd name="T12" fmla="*/ 4 w 96"/>
                      <a:gd name="T13" fmla="*/ 133 h 134"/>
                      <a:gd name="T14" fmla="*/ 3 w 96"/>
                      <a:gd name="T15" fmla="*/ 13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6" h="134">
                        <a:moveTo>
                          <a:pt x="3" y="134"/>
                        </a:moveTo>
                        <a:cubicBezTo>
                          <a:pt x="2" y="134"/>
                          <a:pt x="2" y="134"/>
                          <a:pt x="2" y="133"/>
                        </a:cubicBezTo>
                        <a:cubicBezTo>
                          <a:pt x="1" y="133"/>
                          <a:pt x="0" y="131"/>
                          <a:pt x="1" y="131"/>
                        </a:cubicBezTo>
                        <a:cubicBezTo>
                          <a:pt x="92" y="1"/>
                          <a:pt x="92" y="1"/>
                          <a:pt x="92" y="1"/>
                        </a:cubicBezTo>
                        <a:cubicBezTo>
                          <a:pt x="92" y="0"/>
                          <a:pt x="94" y="0"/>
                          <a:pt x="94" y="1"/>
                        </a:cubicBezTo>
                        <a:cubicBezTo>
                          <a:pt x="95" y="1"/>
                          <a:pt x="96" y="3"/>
                          <a:pt x="95" y="3"/>
                        </a:cubicBezTo>
                        <a:cubicBezTo>
                          <a:pt x="4" y="133"/>
                          <a:pt x="4" y="133"/>
                          <a:pt x="4" y="133"/>
                        </a:cubicBezTo>
                        <a:cubicBezTo>
                          <a:pt x="4" y="133"/>
                          <a:pt x="3" y="134"/>
                          <a:pt x="3" y="134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7" name="Freeform 93">
                    <a:extLst>
                      <a:ext uri="{FF2B5EF4-FFF2-40B4-BE49-F238E27FC236}">
                        <a16:creationId xmlns:a16="http://schemas.microsoft.com/office/drawing/2014/main" id="{189DD98A-C3E4-59E7-7FF5-CED272BACE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7260" y="1072623"/>
                    <a:ext cx="343778" cy="1152897"/>
                  </a:xfrm>
                  <a:custGeom>
                    <a:avLst/>
                    <a:gdLst>
                      <a:gd name="T0" fmla="*/ 72 w 74"/>
                      <a:gd name="T1" fmla="*/ 248 h 248"/>
                      <a:gd name="T2" fmla="*/ 70 w 74"/>
                      <a:gd name="T3" fmla="*/ 247 h 248"/>
                      <a:gd name="T4" fmla="*/ 1 w 74"/>
                      <a:gd name="T5" fmla="*/ 3 h 248"/>
                      <a:gd name="T6" fmla="*/ 2 w 74"/>
                      <a:gd name="T7" fmla="*/ 0 h 248"/>
                      <a:gd name="T8" fmla="*/ 5 w 74"/>
                      <a:gd name="T9" fmla="*/ 2 h 248"/>
                      <a:gd name="T10" fmla="*/ 74 w 74"/>
                      <a:gd name="T11" fmla="*/ 246 h 248"/>
                      <a:gd name="T12" fmla="*/ 73 w 74"/>
                      <a:gd name="T13" fmla="*/ 248 h 248"/>
                      <a:gd name="T14" fmla="*/ 72 w 74"/>
                      <a:gd name="T15" fmla="*/ 248 h 2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4" h="248">
                        <a:moveTo>
                          <a:pt x="72" y="248"/>
                        </a:moveTo>
                        <a:cubicBezTo>
                          <a:pt x="71" y="248"/>
                          <a:pt x="70" y="248"/>
                          <a:pt x="70" y="247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5" y="2"/>
                        </a:cubicBezTo>
                        <a:cubicBezTo>
                          <a:pt x="74" y="246"/>
                          <a:pt x="74" y="246"/>
                          <a:pt x="74" y="246"/>
                        </a:cubicBezTo>
                        <a:cubicBezTo>
                          <a:pt x="74" y="247"/>
                          <a:pt x="74" y="248"/>
                          <a:pt x="73" y="248"/>
                        </a:cubicBezTo>
                        <a:cubicBezTo>
                          <a:pt x="72" y="248"/>
                          <a:pt x="72" y="248"/>
                          <a:pt x="72" y="248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8" name="Freeform 94">
                    <a:extLst>
                      <a:ext uri="{FF2B5EF4-FFF2-40B4-BE49-F238E27FC236}">
                        <a16:creationId xmlns:a16="http://schemas.microsoft.com/office/drawing/2014/main" id="{6C1F4290-982D-1589-0995-9145702D02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63276" y="2523616"/>
                    <a:ext cx="464566" cy="571416"/>
                  </a:xfrm>
                  <a:custGeom>
                    <a:avLst/>
                    <a:gdLst>
                      <a:gd name="T0" fmla="*/ 2 w 100"/>
                      <a:gd name="T1" fmla="*/ 123 h 123"/>
                      <a:gd name="T2" fmla="*/ 1 w 100"/>
                      <a:gd name="T3" fmla="*/ 123 h 123"/>
                      <a:gd name="T4" fmla="*/ 0 w 100"/>
                      <a:gd name="T5" fmla="*/ 120 h 123"/>
                      <a:gd name="T6" fmla="*/ 96 w 100"/>
                      <a:gd name="T7" fmla="*/ 1 h 123"/>
                      <a:gd name="T8" fmla="*/ 99 w 100"/>
                      <a:gd name="T9" fmla="*/ 1 h 123"/>
                      <a:gd name="T10" fmla="*/ 100 w 100"/>
                      <a:gd name="T11" fmla="*/ 4 h 123"/>
                      <a:gd name="T12" fmla="*/ 4 w 100"/>
                      <a:gd name="T13" fmla="*/ 122 h 123"/>
                      <a:gd name="T14" fmla="*/ 2 w 100"/>
                      <a:gd name="T15" fmla="*/ 123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0" h="123">
                        <a:moveTo>
                          <a:pt x="2" y="123"/>
                        </a:moveTo>
                        <a:cubicBezTo>
                          <a:pt x="2" y="123"/>
                          <a:pt x="1" y="123"/>
                          <a:pt x="1" y="123"/>
                        </a:cubicBezTo>
                        <a:cubicBezTo>
                          <a:pt x="0" y="122"/>
                          <a:pt x="0" y="121"/>
                          <a:pt x="0" y="120"/>
                        </a:cubicBezTo>
                        <a:cubicBezTo>
                          <a:pt x="96" y="1"/>
                          <a:pt x="96" y="1"/>
                          <a:pt x="96" y="1"/>
                        </a:cubicBezTo>
                        <a:cubicBezTo>
                          <a:pt x="97" y="0"/>
                          <a:pt x="98" y="0"/>
                          <a:pt x="99" y="1"/>
                        </a:cubicBezTo>
                        <a:cubicBezTo>
                          <a:pt x="100" y="1"/>
                          <a:pt x="100" y="3"/>
                          <a:pt x="100" y="4"/>
                        </a:cubicBezTo>
                        <a:cubicBezTo>
                          <a:pt x="4" y="122"/>
                          <a:pt x="4" y="122"/>
                          <a:pt x="4" y="122"/>
                        </a:cubicBezTo>
                        <a:cubicBezTo>
                          <a:pt x="3" y="123"/>
                          <a:pt x="3" y="123"/>
                          <a:pt x="2" y="12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9" name="Freeform 95">
                    <a:extLst>
                      <a:ext uri="{FF2B5EF4-FFF2-40B4-BE49-F238E27FC236}">
                        <a16:creationId xmlns:a16="http://schemas.microsoft.com/office/drawing/2014/main" id="{D31792C0-FDD1-CF7D-3BEC-CE3D20F1F9E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86504" y="3198011"/>
                    <a:ext cx="399526" cy="190472"/>
                  </a:xfrm>
                  <a:custGeom>
                    <a:avLst/>
                    <a:gdLst>
                      <a:gd name="T0" fmla="*/ 84 w 86"/>
                      <a:gd name="T1" fmla="*/ 41 h 41"/>
                      <a:gd name="T2" fmla="*/ 83 w 86"/>
                      <a:gd name="T3" fmla="*/ 40 h 41"/>
                      <a:gd name="T4" fmla="*/ 2 w 86"/>
                      <a:gd name="T5" fmla="*/ 4 h 41"/>
                      <a:gd name="T6" fmla="*/ 1 w 86"/>
                      <a:gd name="T7" fmla="*/ 2 h 41"/>
                      <a:gd name="T8" fmla="*/ 3 w 86"/>
                      <a:gd name="T9" fmla="*/ 1 h 41"/>
                      <a:gd name="T10" fmla="*/ 84 w 86"/>
                      <a:gd name="T11" fmla="*/ 37 h 41"/>
                      <a:gd name="T12" fmla="*/ 85 w 86"/>
                      <a:gd name="T13" fmla="*/ 39 h 41"/>
                      <a:gd name="T14" fmla="*/ 84 w 86"/>
                      <a:gd name="T15" fmla="*/ 41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6" h="41">
                        <a:moveTo>
                          <a:pt x="84" y="41"/>
                        </a:moveTo>
                        <a:cubicBezTo>
                          <a:pt x="83" y="41"/>
                          <a:pt x="83" y="41"/>
                          <a:pt x="83" y="40"/>
                        </a:cubicBezTo>
                        <a:cubicBezTo>
                          <a:pt x="2" y="4"/>
                          <a:pt x="2" y="4"/>
                          <a:pt x="2" y="4"/>
                        </a:cubicBezTo>
                        <a:cubicBezTo>
                          <a:pt x="1" y="4"/>
                          <a:pt x="0" y="3"/>
                          <a:pt x="1" y="2"/>
                        </a:cubicBezTo>
                        <a:cubicBezTo>
                          <a:pt x="1" y="1"/>
                          <a:pt x="2" y="0"/>
                          <a:pt x="3" y="1"/>
                        </a:cubicBezTo>
                        <a:cubicBezTo>
                          <a:pt x="84" y="37"/>
                          <a:pt x="84" y="37"/>
                          <a:pt x="84" y="37"/>
                        </a:cubicBezTo>
                        <a:cubicBezTo>
                          <a:pt x="85" y="37"/>
                          <a:pt x="86" y="38"/>
                          <a:pt x="85" y="39"/>
                        </a:cubicBezTo>
                        <a:cubicBezTo>
                          <a:pt x="85" y="40"/>
                          <a:pt x="84" y="41"/>
                          <a:pt x="84" y="41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0" name="Freeform 96">
                    <a:extLst>
                      <a:ext uri="{FF2B5EF4-FFF2-40B4-BE49-F238E27FC236}">
                        <a16:creationId xmlns:a16="http://schemas.microsoft.com/office/drawing/2014/main" id="{0F227BF0-44DF-7FAA-8D29-BADA7A8C91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09732" y="3476750"/>
                    <a:ext cx="376298" cy="250866"/>
                  </a:xfrm>
                  <a:custGeom>
                    <a:avLst/>
                    <a:gdLst>
                      <a:gd name="T0" fmla="*/ 3 w 81"/>
                      <a:gd name="T1" fmla="*/ 54 h 54"/>
                      <a:gd name="T2" fmla="*/ 1 w 81"/>
                      <a:gd name="T3" fmla="*/ 53 h 54"/>
                      <a:gd name="T4" fmla="*/ 2 w 81"/>
                      <a:gd name="T5" fmla="*/ 50 h 54"/>
                      <a:gd name="T6" fmla="*/ 77 w 81"/>
                      <a:gd name="T7" fmla="*/ 1 h 54"/>
                      <a:gd name="T8" fmla="*/ 80 w 81"/>
                      <a:gd name="T9" fmla="*/ 1 h 54"/>
                      <a:gd name="T10" fmla="*/ 79 w 81"/>
                      <a:gd name="T11" fmla="*/ 4 h 54"/>
                      <a:gd name="T12" fmla="*/ 4 w 81"/>
                      <a:gd name="T13" fmla="*/ 54 h 54"/>
                      <a:gd name="T14" fmla="*/ 3 w 81"/>
                      <a:gd name="T15" fmla="*/ 54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1" h="54">
                        <a:moveTo>
                          <a:pt x="3" y="54"/>
                        </a:moveTo>
                        <a:cubicBezTo>
                          <a:pt x="2" y="54"/>
                          <a:pt x="1" y="54"/>
                          <a:pt x="1" y="53"/>
                        </a:cubicBezTo>
                        <a:cubicBezTo>
                          <a:pt x="0" y="52"/>
                          <a:pt x="1" y="51"/>
                          <a:pt x="2" y="50"/>
                        </a:cubicBezTo>
                        <a:cubicBezTo>
                          <a:pt x="77" y="1"/>
                          <a:pt x="77" y="1"/>
                          <a:pt x="77" y="1"/>
                        </a:cubicBezTo>
                        <a:cubicBezTo>
                          <a:pt x="78" y="0"/>
                          <a:pt x="79" y="0"/>
                          <a:pt x="80" y="1"/>
                        </a:cubicBezTo>
                        <a:cubicBezTo>
                          <a:pt x="81" y="2"/>
                          <a:pt x="80" y="3"/>
                          <a:pt x="79" y="4"/>
                        </a:cubicBezTo>
                        <a:cubicBezTo>
                          <a:pt x="4" y="54"/>
                          <a:pt x="4" y="54"/>
                          <a:pt x="4" y="54"/>
                        </a:cubicBezTo>
                        <a:cubicBezTo>
                          <a:pt x="3" y="54"/>
                          <a:pt x="3" y="54"/>
                          <a:pt x="3" y="54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1" name="Freeform 97">
                    <a:extLst>
                      <a:ext uri="{FF2B5EF4-FFF2-40B4-BE49-F238E27FC236}">
                        <a16:creationId xmlns:a16="http://schemas.microsoft.com/office/drawing/2014/main" id="{D36136B9-3966-D0EC-C281-237C1A1F181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96615" y="4090751"/>
                    <a:ext cx="696848" cy="459920"/>
                  </a:xfrm>
                  <a:custGeom>
                    <a:avLst/>
                    <a:gdLst>
                      <a:gd name="T0" fmla="*/ 148 w 150"/>
                      <a:gd name="T1" fmla="*/ 99 h 99"/>
                      <a:gd name="T2" fmla="*/ 147 w 150"/>
                      <a:gd name="T3" fmla="*/ 99 h 99"/>
                      <a:gd name="T4" fmla="*/ 1 w 150"/>
                      <a:gd name="T5" fmla="*/ 4 h 99"/>
                      <a:gd name="T6" fmla="*/ 1 w 150"/>
                      <a:gd name="T7" fmla="*/ 2 h 99"/>
                      <a:gd name="T8" fmla="*/ 3 w 150"/>
                      <a:gd name="T9" fmla="*/ 1 h 99"/>
                      <a:gd name="T10" fmla="*/ 149 w 150"/>
                      <a:gd name="T11" fmla="*/ 96 h 99"/>
                      <a:gd name="T12" fmla="*/ 149 w 150"/>
                      <a:gd name="T13" fmla="*/ 98 h 99"/>
                      <a:gd name="T14" fmla="*/ 148 w 150"/>
                      <a:gd name="T15" fmla="*/ 99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50" h="99">
                        <a:moveTo>
                          <a:pt x="148" y="99"/>
                        </a:moveTo>
                        <a:cubicBezTo>
                          <a:pt x="147" y="99"/>
                          <a:pt x="147" y="99"/>
                          <a:pt x="147" y="99"/>
                        </a:cubicBezTo>
                        <a:cubicBezTo>
                          <a:pt x="1" y="4"/>
                          <a:pt x="1" y="4"/>
                          <a:pt x="1" y="4"/>
                        </a:cubicBezTo>
                        <a:cubicBezTo>
                          <a:pt x="0" y="4"/>
                          <a:pt x="0" y="3"/>
                          <a:pt x="1" y="2"/>
                        </a:cubicBezTo>
                        <a:cubicBezTo>
                          <a:pt x="1" y="1"/>
                          <a:pt x="2" y="0"/>
                          <a:pt x="3" y="1"/>
                        </a:cubicBezTo>
                        <a:cubicBezTo>
                          <a:pt x="149" y="96"/>
                          <a:pt x="149" y="96"/>
                          <a:pt x="149" y="96"/>
                        </a:cubicBezTo>
                        <a:cubicBezTo>
                          <a:pt x="150" y="96"/>
                          <a:pt x="150" y="98"/>
                          <a:pt x="149" y="98"/>
                        </a:cubicBezTo>
                        <a:cubicBezTo>
                          <a:pt x="149" y="99"/>
                          <a:pt x="148" y="99"/>
                          <a:pt x="148" y="99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Freeform 98">
                    <a:extLst>
                      <a:ext uri="{FF2B5EF4-FFF2-40B4-BE49-F238E27FC236}">
                        <a16:creationId xmlns:a16="http://schemas.microsoft.com/office/drawing/2014/main" id="{3F4626F5-462B-47CE-5BAA-B759B314CB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19952" y="752073"/>
                    <a:ext cx="567545" cy="106850"/>
                  </a:xfrm>
                  <a:custGeom>
                    <a:avLst/>
                    <a:gdLst>
                      <a:gd name="T0" fmla="*/ 120 w 122"/>
                      <a:gd name="T1" fmla="*/ 23 h 23"/>
                      <a:gd name="T2" fmla="*/ 119 w 122"/>
                      <a:gd name="T3" fmla="*/ 23 h 23"/>
                      <a:gd name="T4" fmla="*/ 1 w 122"/>
                      <a:gd name="T5" fmla="*/ 4 h 23"/>
                      <a:gd name="T6" fmla="*/ 0 w 122"/>
                      <a:gd name="T7" fmla="*/ 2 h 23"/>
                      <a:gd name="T8" fmla="*/ 2 w 122"/>
                      <a:gd name="T9" fmla="*/ 0 h 23"/>
                      <a:gd name="T10" fmla="*/ 120 w 122"/>
                      <a:gd name="T11" fmla="*/ 19 h 23"/>
                      <a:gd name="T12" fmla="*/ 122 w 122"/>
                      <a:gd name="T13" fmla="*/ 21 h 23"/>
                      <a:gd name="T14" fmla="*/ 120 w 122"/>
                      <a:gd name="T15" fmla="*/ 23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2" h="23">
                        <a:moveTo>
                          <a:pt x="120" y="23"/>
                        </a:moveTo>
                        <a:cubicBezTo>
                          <a:pt x="120" y="23"/>
                          <a:pt x="119" y="23"/>
                          <a:pt x="119" y="23"/>
                        </a:cubicBezTo>
                        <a:cubicBezTo>
                          <a:pt x="1" y="4"/>
                          <a:pt x="1" y="4"/>
                          <a:pt x="1" y="4"/>
                        </a:cubicBezTo>
                        <a:cubicBezTo>
                          <a:pt x="0" y="4"/>
                          <a:pt x="0" y="3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120" y="19"/>
                          <a:pt x="120" y="19"/>
                          <a:pt x="120" y="19"/>
                        </a:cubicBezTo>
                        <a:cubicBezTo>
                          <a:pt x="121" y="19"/>
                          <a:pt x="122" y="20"/>
                          <a:pt x="122" y="21"/>
                        </a:cubicBezTo>
                        <a:cubicBezTo>
                          <a:pt x="121" y="22"/>
                          <a:pt x="121" y="23"/>
                          <a:pt x="120" y="2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3" name="Freeform 110">
                    <a:extLst>
                      <a:ext uri="{FF2B5EF4-FFF2-40B4-BE49-F238E27FC236}">
                        <a16:creationId xmlns:a16="http://schemas.microsoft.com/office/drawing/2014/main" id="{0C5F7463-EAAE-D56C-048D-F683E201C4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735166" y="574763"/>
                    <a:ext cx="502506" cy="237703"/>
                  </a:xfrm>
                  <a:custGeom>
                    <a:avLst/>
                    <a:gdLst>
                      <a:gd name="T0" fmla="*/ 12 w 649"/>
                      <a:gd name="T1" fmla="*/ 307 h 307"/>
                      <a:gd name="T2" fmla="*/ 0 w 649"/>
                      <a:gd name="T3" fmla="*/ 289 h 307"/>
                      <a:gd name="T4" fmla="*/ 643 w 649"/>
                      <a:gd name="T5" fmla="*/ 0 h 307"/>
                      <a:gd name="T6" fmla="*/ 649 w 649"/>
                      <a:gd name="T7" fmla="*/ 18 h 307"/>
                      <a:gd name="T8" fmla="*/ 12 w 649"/>
                      <a:gd name="T9" fmla="*/ 307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49" h="307">
                        <a:moveTo>
                          <a:pt x="12" y="307"/>
                        </a:moveTo>
                        <a:lnTo>
                          <a:pt x="0" y="289"/>
                        </a:lnTo>
                        <a:lnTo>
                          <a:pt x="643" y="0"/>
                        </a:lnTo>
                        <a:lnTo>
                          <a:pt x="649" y="18"/>
                        </a:lnTo>
                        <a:lnTo>
                          <a:pt x="12" y="307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4" name="Freeform 111">
                    <a:extLst>
                      <a:ext uri="{FF2B5EF4-FFF2-40B4-BE49-F238E27FC236}">
                        <a16:creationId xmlns:a16="http://schemas.microsoft.com/office/drawing/2014/main" id="{3615C464-CDD2-EAA5-B0AC-323C9A4AE1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6835" y="560826"/>
                    <a:ext cx="111496" cy="293451"/>
                  </a:xfrm>
                  <a:custGeom>
                    <a:avLst/>
                    <a:gdLst>
                      <a:gd name="T0" fmla="*/ 126 w 144"/>
                      <a:gd name="T1" fmla="*/ 379 h 379"/>
                      <a:gd name="T2" fmla="*/ 0 w 144"/>
                      <a:gd name="T3" fmla="*/ 6 h 379"/>
                      <a:gd name="T4" fmla="*/ 18 w 144"/>
                      <a:gd name="T5" fmla="*/ 0 h 379"/>
                      <a:gd name="T6" fmla="*/ 144 w 144"/>
                      <a:gd name="T7" fmla="*/ 379 h 379"/>
                      <a:gd name="T8" fmla="*/ 126 w 144"/>
                      <a:gd name="T9" fmla="*/ 379 h 3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4" h="379">
                        <a:moveTo>
                          <a:pt x="126" y="379"/>
                        </a:moveTo>
                        <a:lnTo>
                          <a:pt x="0" y="6"/>
                        </a:lnTo>
                        <a:lnTo>
                          <a:pt x="18" y="0"/>
                        </a:lnTo>
                        <a:lnTo>
                          <a:pt x="144" y="379"/>
                        </a:lnTo>
                        <a:lnTo>
                          <a:pt x="126" y="379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5" name="Freeform 112">
                    <a:extLst>
                      <a:ext uri="{FF2B5EF4-FFF2-40B4-BE49-F238E27FC236}">
                        <a16:creationId xmlns:a16="http://schemas.microsoft.com/office/drawing/2014/main" id="{8E5C9D2E-1ED9-A18B-E47A-022DB57393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79763" y="779947"/>
                    <a:ext cx="334487" cy="185826"/>
                  </a:xfrm>
                  <a:custGeom>
                    <a:avLst/>
                    <a:gdLst>
                      <a:gd name="T0" fmla="*/ 426 w 432"/>
                      <a:gd name="T1" fmla="*/ 240 h 240"/>
                      <a:gd name="T2" fmla="*/ 0 w 432"/>
                      <a:gd name="T3" fmla="*/ 18 h 240"/>
                      <a:gd name="T4" fmla="*/ 12 w 432"/>
                      <a:gd name="T5" fmla="*/ 0 h 240"/>
                      <a:gd name="T6" fmla="*/ 432 w 432"/>
                      <a:gd name="T7" fmla="*/ 222 h 240"/>
                      <a:gd name="T8" fmla="*/ 426 w 432"/>
                      <a:gd name="T9" fmla="*/ 24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32" h="240">
                        <a:moveTo>
                          <a:pt x="426" y="240"/>
                        </a:moveTo>
                        <a:lnTo>
                          <a:pt x="0" y="18"/>
                        </a:lnTo>
                        <a:lnTo>
                          <a:pt x="12" y="0"/>
                        </a:lnTo>
                        <a:lnTo>
                          <a:pt x="432" y="222"/>
                        </a:lnTo>
                        <a:lnTo>
                          <a:pt x="426" y="24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6" name="Freeform 113">
                    <a:extLst>
                      <a:ext uri="{FF2B5EF4-FFF2-40B4-BE49-F238E27FC236}">
                        <a16:creationId xmlns:a16="http://schemas.microsoft.com/office/drawing/2014/main" id="{C441E77E-DA04-342D-7A27-DC0B26DEC5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19306" y="1858513"/>
                    <a:ext cx="111496" cy="367007"/>
                  </a:xfrm>
                  <a:custGeom>
                    <a:avLst/>
                    <a:gdLst>
                      <a:gd name="T0" fmla="*/ 18 w 144"/>
                      <a:gd name="T1" fmla="*/ 474 h 474"/>
                      <a:gd name="T2" fmla="*/ 0 w 144"/>
                      <a:gd name="T3" fmla="*/ 468 h 474"/>
                      <a:gd name="T4" fmla="*/ 132 w 144"/>
                      <a:gd name="T5" fmla="*/ 0 h 474"/>
                      <a:gd name="T6" fmla="*/ 144 w 144"/>
                      <a:gd name="T7" fmla="*/ 0 h 474"/>
                      <a:gd name="T8" fmla="*/ 18 w 144"/>
                      <a:gd name="T9" fmla="*/ 474 h 4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44" h="474">
                        <a:moveTo>
                          <a:pt x="18" y="474"/>
                        </a:moveTo>
                        <a:lnTo>
                          <a:pt x="0" y="468"/>
                        </a:lnTo>
                        <a:lnTo>
                          <a:pt x="132" y="0"/>
                        </a:lnTo>
                        <a:lnTo>
                          <a:pt x="144" y="0"/>
                        </a:lnTo>
                        <a:lnTo>
                          <a:pt x="18" y="474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7" name="Freeform 114">
                    <a:extLst>
                      <a:ext uri="{FF2B5EF4-FFF2-40B4-BE49-F238E27FC236}">
                        <a16:creationId xmlns:a16="http://schemas.microsoft.com/office/drawing/2014/main" id="{1C800CB2-6F3B-01DA-F738-3454BB83D5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24297" y="546890"/>
                    <a:ext cx="209829" cy="144790"/>
                  </a:xfrm>
                  <a:custGeom>
                    <a:avLst/>
                    <a:gdLst>
                      <a:gd name="T0" fmla="*/ 265 w 271"/>
                      <a:gd name="T1" fmla="*/ 187 h 187"/>
                      <a:gd name="T2" fmla="*/ 0 w 271"/>
                      <a:gd name="T3" fmla="*/ 12 h 187"/>
                      <a:gd name="T4" fmla="*/ 6 w 271"/>
                      <a:gd name="T5" fmla="*/ 0 h 187"/>
                      <a:gd name="T6" fmla="*/ 271 w 271"/>
                      <a:gd name="T7" fmla="*/ 175 h 187"/>
                      <a:gd name="T8" fmla="*/ 265 w 271"/>
                      <a:gd name="T9" fmla="*/ 187 h 1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1" h="187">
                        <a:moveTo>
                          <a:pt x="265" y="187"/>
                        </a:moveTo>
                        <a:lnTo>
                          <a:pt x="0" y="12"/>
                        </a:lnTo>
                        <a:lnTo>
                          <a:pt x="6" y="0"/>
                        </a:lnTo>
                        <a:lnTo>
                          <a:pt x="271" y="175"/>
                        </a:lnTo>
                        <a:lnTo>
                          <a:pt x="265" y="187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8" name="Freeform 115">
                    <a:extLst>
                      <a:ext uri="{FF2B5EF4-FFF2-40B4-BE49-F238E27FC236}">
                        <a16:creationId xmlns:a16="http://schemas.microsoft.com/office/drawing/2014/main" id="{9315B135-0A72-9EE4-ACA7-C7E491D8D7E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84690" y="1300260"/>
                    <a:ext cx="330616" cy="302742"/>
                  </a:xfrm>
                  <a:custGeom>
                    <a:avLst/>
                    <a:gdLst>
                      <a:gd name="T0" fmla="*/ 415 w 427"/>
                      <a:gd name="T1" fmla="*/ 391 h 391"/>
                      <a:gd name="T2" fmla="*/ 0 w 427"/>
                      <a:gd name="T3" fmla="*/ 12 h 391"/>
                      <a:gd name="T4" fmla="*/ 12 w 427"/>
                      <a:gd name="T5" fmla="*/ 0 h 391"/>
                      <a:gd name="T6" fmla="*/ 427 w 427"/>
                      <a:gd name="T7" fmla="*/ 379 h 391"/>
                      <a:gd name="T8" fmla="*/ 415 w 427"/>
                      <a:gd name="T9" fmla="*/ 391 h 3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7" h="391">
                        <a:moveTo>
                          <a:pt x="415" y="391"/>
                        </a:moveTo>
                        <a:lnTo>
                          <a:pt x="0" y="12"/>
                        </a:lnTo>
                        <a:lnTo>
                          <a:pt x="12" y="0"/>
                        </a:lnTo>
                        <a:lnTo>
                          <a:pt x="427" y="379"/>
                        </a:lnTo>
                        <a:lnTo>
                          <a:pt x="415" y="391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9" name="Freeform 116">
                    <a:extLst>
                      <a:ext uri="{FF2B5EF4-FFF2-40B4-BE49-F238E27FC236}">
                        <a16:creationId xmlns:a16="http://schemas.microsoft.com/office/drawing/2014/main" id="{80A181CE-4623-C5D3-6041-AC4BC73E01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31684" y="1937489"/>
                    <a:ext cx="181180" cy="600065"/>
                  </a:xfrm>
                  <a:custGeom>
                    <a:avLst/>
                    <a:gdLst>
                      <a:gd name="T0" fmla="*/ 18 w 234"/>
                      <a:gd name="T1" fmla="*/ 775 h 775"/>
                      <a:gd name="T2" fmla="*/ 0 w 234"/>
                      <a:gd name="T3" fmla="*/ 769 h 775"/>
                      <a:gd name="T4" fmla="*/ 216 w 234"/>
                      <a:gd name="T5" fmla="*/ 0 h 775"/>
                      <a:gd name="T6" fmla="*/ 234 w 234"/>
                      <a:gd name="T7" fmla="*/ 6 h 775"/>
                      <a:gd name="T8" fmla="*/ 18 w 234"/>
                      <a:gd name="T9" fmla="*/ 775 h 7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4" h="775">
                        <a:moveTo>
                          <a:pt x="18" y="775"/>
                        </a:moveTo>
                        <a:lnTo>
                          <a:pt x="0" y="769"/>
                        </a:lnTo>
                        <a:lnTo>
                          <a:pt x="216" y="0"/>
                        </a:lnTo>
                        <a:lnTo>
                          <a:pt x="234" y="6"/>
                        </a:lnTo>
                        <a:lnTo>
                          <a:pt x="18" y="775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0" name="Freeform 123">
                    <a:extLst>
                      <a:ext uri="{FF2B5EF4-FFF2-40B4-BE49-F238E27FC236}">
                        <a16:creationId xmlns:a16="http://schemas.microsoft.com/office/drawing/2014/main" id="{E8AF899F-77EB-EFCD-4CDF-B4C49A51AC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61309" y="2244102"/>
                    <a:ext cx="144016" cy="307388"/>
                  </a:xfrm>
                  <a:custGeom>
                    <a:avLst/>
                    <a:gdLst>
                      <a:gd name="T0" fmla="*/ 168 w 186"/>
                      <a:gd name="T1" fmla="*/ 397 h 397"/>
                      <a:gd name="T2" fmla="*/ 0 w 186"/>
                      <a:gd name="T3" fmla="*/ 12 h 397"/>
                      <a:gd name="T4" fmla="*/ 18 w 186"/>
                      <a:gd name="T5" fmla="*/ 0 h 397"/>
                      <a:gd name="T6" fmla="*/ 186 w 186"/>
                      <a:gd name="T7" fmla="*/ 385 h 397"/>
                      <a:gd name="T8" fmla="*/ 168 w 186"/>
                      <a:gd name="T9" fmla="*/ 397 h 3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6" h="397">
                        <a:moveTo>
                          <a:pt x="168" y="397"/>
                        </a:moveTo>
                        <a:lnTo>
                          <a:pt x="0" y="12"/>
                        </a:lnTo>
                        <a:lnTo>
                          <a:pt x="18" y="0"/>
                        </a:lnTo>
                        <a:lnTo>
                          <a:pt x="186" y="385"/>
                        </a:lnTo>
                        <a:lnTo>
                          <a:pt x="168" y="397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1" name="Freeform 124">
                    <a:extLst>
                      <a:ext uri="{FF2B5EF4-FFF2-40B4-BE49-F238E27FC236}">
                        <a16:creationId xmlns:a16="http://schemas.microsoft.com/office/drawing/2014/main" id="{C01D1685-A3D0-FEF0-5A0F-AA59562A0F8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07765" y="1430339"/>
                    <a:ext cx="380944" cy="428175"/>
                  </a:xfrm>
                  <a:custGeom>
                    <a:avLst/>
                    <a:gdLst>
                      <a:gd name="T0" fmla="*/ 12 w 492"/>
                      <a:gd name="T1" fmla="*/ 553 h 553"/>
                      <a:gd name="T2" fmla="*/ 0 w 492"/>
                      <a:gd name="T3" fmla="*/ 541 h 553"/>
                      <a:gd name="T4" fmla="*/ 480 w 492"/>
                      <a:gd name="T5" fmla="*/ 0 h 553"/>
                      <a:gd name="T6" fmla="*/ 492 w 492"/>
                      <a:gd name="T7" fmla="*/ 12 h 553"/>
                      <a:gd name="T8" fmla="*/ 12 w 492"/>
                      <a:gd name="T9" fmla="*/ 553 h 5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92" h="553">
                        <a:moveTo>
                          <a:pt x="12" y="553"/>
                        </a:moveTo>
                        <a:lnTo>
                          <a:pt x="0" y="541"/>
                        </a:lnTo>
                        <a:lnTo>
                          <a:pt x="480" y="0"/>
                        </a:lnTo>
                        <a:lnTo>
                          <a:pt x="492" y="12"/>
                        </a:lnTo>
                        <a:lnTo>
                          <a:pt x="12" y="553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2" name="Freeform 125">
                    <a:extLst>
                      <a:ext uri="{FF2B5EF4-FFF2-40B4-BE49-F238E27FC236}">
                        <a16:creationId xmlns:a16="http://schemas.microsoft.com/office/drawing/2014/main" id="{F6F563F2-4A19-F6A6-C84E-597F204778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26283" y="1323489"/>
                    <a:ext cx="297322" cy="507151"/>
                  </a:xfrm>
                  <a:custGeom>
                    <a:avLst/>
                    <a:gdLst>
                      <a:gd name="T0" fmla="*/ 372 w 384"/>
                      <a:gd name="T1" fmla="*/ 655 h 655"/>
                      <a:gd name="T2" fmla="*/ 0 w 384"/>
                      <a:gd name="T3" fmla="*/ 6 h 655"/>
                      <a:gd name="T4" fmla="*/ 12 w 384"/>
                      <a:gd name="T5" fmla="*/ 0 h 655"/>
                      <a:gd name="T6" fmla="*/ 384 w 384"/>
                      <a:gd name="T7" fmla="*/ 649 h 655"/>
                      <a:gd name="T8" fmla="*/ 372 w 384"/>
                      <a:gd name="T9" fmla="*/ 655 h 6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84" h="655">
                        <a:moveTo>
                          <a:pt x="372" y="655"/>
                        </a:moveTo>
                        <a:lnTo>
                          <a:pt x="0" y="6"/>
                        </a:lnTo>
                        <a:lnTo>
                          <a:pt x="12" y="0"/>
                        </a:lnTo>
                        <a:lnTo>
                          <a:pt x="384" y="649"/>
                        </a:lnTo>
                        <a:lnTo>
                          <a:pt x="372" y="655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3" name="Freeform 126">
                    <a:extLst>
                      <a:ext uri="{FF2B5EF4-FFF2-40B4-BE49-F238E27FC236}">
                        <a16:creationId xmlns:a16="http://schemas.microsoft.com/office/drawing/2014/main" id="{0B304688-D8F3-6DF9-9D32-5002278FAE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63148" y="2718734"/>
                    <a:ext cx="260931" cy="502506"/>
                  </a:xfrm>
                  <a:custGeom>
                    <a:avLst/>
                    <a:gdLst>
                      <a:gd name="T0" fmla="*/ 319 w 337"/>
                      <a:gd name="T1" fmla="*/ 649 h 649"/>
                      <a:gd name="T2" fmla="*/ 0 w 337"/>
                      <a:gd name="T3" fmla="*/ 6 h 649"/>
                      <a:gd name="T4" fmla="*/ 18 w 337"/>
                      <a:gd name="T5" fmla="*/ 0 h 649"/>
                      <a:gd name="T6" fmla="*/ 337 w 337"/>
                      <a:gd name="T7" fmla="*/ 637 h 649"/>
                      <a:gd name="T8" fmla="*/ 319 w 337"/>
                      <a:gd name="T9" fmla="*/ 649 h 6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7" h="649">
                        <a:moveTo>
                          <a:pt x="319" y="649"/>
                        </a:moveTo>
                        <a:lnTo>
                          <a:pt x="0" y="6"/>
                        </a:lnTo>
                        <a:lnTo>
                          <a:pt x="18" y="0"/>
                        </a:lnTo>
                        <a:lnTo>
                          <a:pt x="337" y="637"/>
                        </a:lnTo>
                        <a:lnTo>
                          <a:pt x="319" y="649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4" name="Freeform 127">
                    <a:extLst>
                      <a:ext uri="{FF2B5EF4-FFF2-40B4-BE49-F238E27FC236}">
                        <a16:creationId xmlns:a16="http://schemas.microsoft.com/office/drawing/2014/main" id="{B34F3288-95F0-22A5-DAE8-643F120927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12692" y="970418"/>
                    <a:ext cx="651167" cy="348424"/>
                  </a:xfrm>
                  <a:custGeom>
                    <a:avLst/>
                    <a:gdLst>
                      <a:gd name="T0" fmla="*/ 835 w 841"/>
                      <a:gd name="T1" fmla="*/ 450 h 450"/>
                      <a:gd name="T2" fmla="*/ 0 w 841"/>
                      <a:gd name="T3" fmla="*/ 18 h 450"/>
                      <a:gd name="T4" fmla="*/ 12 w 841"/>
                      <a:gd name="T5" fmla="*/ 0 h 450"/>
                      <a:gd name="T6" fmla="*/ 841 w 841"/>
                      <a:gd name="T7" fmla="*/ 432 h 450"/>
                      <a:gd name="T8" fmla="*/ 835 w 841"/>
                      <a:gd name="T9" fmla="*/ 450 h 4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41" h="450">
                        <a:moveTo>
                          <a:pt x="835" y="450"/>
                        </a:moveTo>
                        <a:lnTo>
                          <a:pt x="0" y="18"/>
                        </a:lnTo>
                        <a:lnTo>
                          <a:pt x="12" y="0"/>
                        </a:lnTo>
                        <a:lnTo>
                          <a:pt x="841" y="432"/>
                        </a:lnTo>
                        <a:lnTo>
                          <a:pt x="835" y="450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Freeform 128">
                    <a:extLst>
                      <a:ext uri="{FF2B5EF4-FFF2-40B4-BE49-F238E27FC236}">
                        <a16:creationId xmlns:a16="http://schemas.microsoft.com/office/drawing/2014/main" id="{2953A52A-A379-6DF3-E4BF-EE96323EDD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91150" y="3067158"/>
                    <a:ext cx="590773" cy="69685"/>
                  </a:xfrm>
                  <a:custGeom>
                    <a:avLst/>
                    <a:gdLst>
                      <a:gd name="T0" fmla="*/ 1 w 127"/>
                      <a:gd name="T1" fmla="*/ 15 h 15"/>
                      <a:gd name="T2" fmla="*/ 0 w 127"/>
                      <a:gd name="T3" fmla="*/ 13 h 15"/>
                      <a:gd name="T4" fmla="*/ 1 w 127"/>
                      <a:gd name="T5" fmla="*/ 12 h 15"/>
                      <a:gd name="T6" fmla="*/ 125 w 127"/>
                      <a:gd name="T7" fmla="*/ 0 h 15"/>
                      <a:gd name="T8" fmla="*/ 127 w 127"/>
                      <a:gd name="T9" fmla="*/ 1 h 15"/>
                      <a:gd name="T10" fmla="*/ 125 w 127"/>
                      <a:gd name="T11" fmla="*/ 3 h 15"/>
                      <a:gd name="T12" fmla="*/ 1 w 127"/>
                      <a:gd name="T13" fmla="*/ 15 h 15"/>
                      <a:gd name="T14" fmla="*/ 1 w 127"/>
                      <a:gd name="T15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7" h="15">
                        <a:moveTo>
                          <a:pt x="1" y="15"/>
                        </a:moveTo>
                        <a:cubicBezTo>
                          <a:pt x="1" y="15"/>
                          <a:pt x="0" y="14"/>
                          <a:pt x="0" y="13"/>
                        </a:cubicBezTo>
                        <a:cubicBezTo>
                          <a:pt x="0" y="13"/>
                          <a:pt x="0" y="12"/>
                          <a:pt x="1" y="12"/>
                        </a:cubicBezTo>
                        <a:cubicBezTo>
                          <a:pt x="125" y="0"/>
                          <a:pt x="125" y="0"/>
                          <a:pt x="125" y="0"/>
                        </a:cubicBezTo>
                        <a:cubicBezTo>
                          <a:pt x="126" y="0"/>
                          <a:pt x="127" y="0"/>
                          <a:pt x="127" y="1"/>
                        </a:cubicBezTo>
                        <a:cubicBezTo>
                          <a:pt x="127" y="2"/>
                          <a:pt x="126" y="3"/>
                          <a:pt x="125" y="3"/>
                        </a:cubicBezTo>
                        <a:cubicBezTo>
                          <a:pt x="1" y="15"/>
                          <a:pt x="1" y="15"/>
                          <a:pt x="1" y="15"/>
                        </a:cubicBezTo>
                        <a:cubicBezTo>
                          <a:pt x="1" y="15"/>
                          <a:pt x="1" y="15"/>
                          <a:pt x="1" y="15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6" name="Freeform 129">
                    <a:extLst>
                      <a:ext uri="{FF2B5EF4-FFF2-40B4-BE49-F238E27FC236}">
                        <a16:creationId xmlns:a16="http://schemas.microsoft.com/office/drawing/2014/main" id="{6394D82F-26C1-1C6E-B832-3294A4E9A7E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21529" y="3132197"/>
                    <a:ext cx="92913" cy="214475"/>
                  </a:xfrm>
                  <a:custGeom>
                    <a:avLst/>
                    <a:gdLst>
                      <a:gd name="T0" fmla="*/ 2 w 20"/>
                      <a:gd name="T1" fmla="*/ 46 h 46"/>
                      <a:gd name="T2" fmla="*/ 2 w 20"/>
                      <a:gd name="T3" fmla="*/ 46 h 46"/>
                      <a:gd name="T4" fmla="*/ 1 w 20"/>
                      <a:gd name="T5" fmla="*/ 44 h 46"/>
                      <a:gd name="T6" fmla="*/ 17 w 20"/>
                      <a:gd name="T7" fmla="*/ 2 h 46"/>
                      <a:gd name="T8" fmla="*/ 18 w 20"/>
                      <a:gd name="T9" fmla="*/ 1 h 46"/>
                      <a:gd name="T10" fmla="*/ 19 w 20"/>
                      <a:gd name="T11" fmla="*/ 2 h 46"/>
                      <a:gd name="T12" fmla="*/ 3 w 20"/>
                      <a:gd name="T13" fmla="*/ 45 h 46"/>
                      <a:gd name="T14" fmla="*/ 2 w 20"/>
                      <a:gd name="T15" fmla="*/ 46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" h="46">
                        <a:moveTo>
                          <a:pt x="2" y="46"/>
                        </a:moveTo>
                        <a:cubicBezTo>
                          <a:pt x="2" y="46"/>
                          <a:pt x="2" y="46"/>
                          <a:pt x="2" y="46"/>
                        </a:cubicBezTo>
                        <a:cubicBezTo>
                          <a:pt x="1" y="46"/>
                          <a:pt x="0" y="45"/>
                          <a:pt x="1" y="44"/>
                        </a:cubicBezTo>
                        <a:cubicBezTo>
                          <a:pt x="17" y="2"/>
                          <a:pt x="17" y="2"/>
                          <a:pt x="17" y="2"/>
                        </a:cubicBezTo>
                        <a:cubicBezTo>
                          <a:pt x="17" y="1"/>
                          <a:pt x="18" y="0"/>
                          <a:pt x="18" y="1"/>
                        </a:cubicBezTo>
                        <a:cubicBezTo>
                          <a:pt x="19" y="1"/>
                          <a:pt x="20" y="2"/>
                          <a:pt x="19" y="2"/>
                        </a:cubicBezTo>
                        <a:cubicBezTo>
                          <a:pt x="3" y="45"/>
                          <a:pt x="3" y="45"/>
                          <a:pt x="3" y="45"/>
                        </a:cubicBezTo>
                        <a:cubicBezTo>
                          <a:pt x="3" y="46"/>
                          <a:pt x="3" y="46"/>
                          <a:pt x="2" y="4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7" name="Freeform 130">
                    <a:extLst>
                      <a:ext uri="{FF2B5EF4-FFF2-40B4-BE49-F238E27FC236}">
                        <a16:creationId xmlns:a16="http://schemas.microsoft.com/office/drawing/2014/main" id="{50741E9F-D3AF-F234-8669-F153C4CA1B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004614" y="1825994"/>
                    <a:ext cx="154081" cy="92913"/>
                  </a:xfrm>
                  <a:custGeom>
                    <a:avLst/>
                    <a:gdLst>
                      <a:gd name="T0" fmla="*/ 2 w 33"/>
                      <a:gd name="T1" fmla="*/ 20 h 20"/>
                      <a:gd name="T2" fmla="*/ 1 w 33"/>
                      <a:gd name="T3" fmla="*/ 20 h 20"/>
                      <a:gd name="T4" fmla="*/ 1 w 33"/>
                      <a:gd name="T5" fmla="*/ 18 h 20"/>
                      <a:gd name="T6" fmla="*/ 30 w 33"/>
                      <a:gd name="T7" fmla="*/ 1 h 20"/>
                      <a:gd name="T8" fmla="*/ 32 w 33"/>
                      <a:gd name="T9" fmla="*/ 1 h 20"/>
                      <a:gd name="T10" fmla="*/ 32 w 33"/>
                      <a:gd name="T11" fmla="*/ 3 h 20"/>
                      <a:gd name="T12" fmla="*/ 2 w 33"/>
                      <a:gd name="T13" fmla="*/ 20 h 20"/>
                      <a:gd name="T14" fmla="*/ 2 w 33"/>
                      <a:gd name="T15" fmla="*/ 20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3" h="20">
                        <a:moveTo>
                          <a:pt x="2" y="20"/>
                        </a:moveTo>
                        <a:cubicBezTo>
                          <a:pt x="1" y="20"/>
                          <a:pt x="1" y="20"/>
                          <a:pt x="1" y="20"/>
                        </a:cubicBezTo>
                        <a:cubicBezTo>
                          <a:pt x="0" y="19"/>
                          <a:pt x="0" y="18"/>
                          <a:pt x="1" y="18"/>
                        </a:cubicBezTo>
                        <a:cubicBezTo>
                          <a:pt x="30" y="1"/>
                          <a:pt x="30" y="1"/>
                          <a:pt x="30" y="1"/>
                        </a:cubicBezTo>
                        <a:cubicBezTo>
                          <a:pt x="31" y="0"/>
                          <a:pt x="32" y="0"/>
                          <a:pt x="32" y="1"/>
                        </a:cubicBezTo>
                        <a:cubicBezTo>
                          <a:pt x="33" y="2"/>
                          <a:pt x="32" y="2"/>
                          <a:pt x="32" y="3"/>
                        </a:cubicBezTo>
                        <a:cubicBezTo>
                          <a:pt x="2" y="20"/>
                          <a:pt x="2" y="20"/>
                          <a:pt x="2" y="20"/>
                        </a:cubicBezTo>
                        <a:cubicBezTo>
                          <a:pt x="2" y="20"/>
                          <a:pt x="2" y="20"/>
                          <a:pt x="2" y="20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8" name="Freeform 131">
                    <a:extLst>
                      <a:ext uri="{FF2B5EF4-FFF2-40B4-BE49-F238E27FC236}">
                        <a16:creationId xmlns:a16="http://schemas.microsoft.com/office/drawing/2014/main" id="{E0893038-9904-81CD-151A-91C28D30C5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54913" y="537598"/>
                    <a:ext cx="65039" cy="130853"/>
                  </a:xfrm>
                  <a:custGeom>
                    <a:avLst/>
                    <a:gdLst>
                      <a:gd name="T0" fmla="*/ 2 w 14"/>
                      <a:gd name="T1" fmla="*/ 28 h 28"/>
                      <a:gd name="T2" fmla="*/ 1 w 14"/>
                      <a:gd name="T3" fmla="*/ 28 h 28"/>
                      <a:gd name="T4" fmla="*/ 0 w 14"/>
                      <a:gd name="T5" fmla="*/ 26 h 28"/>
                      <a:gd name="T6" fmla="*/ 11 w 14"/>
                      <a:gd name="T7" fmla="*/ 1 h 28"/>
                      <a:gd name="T8" fmla="*/ 13 w 14"/>
                      <a:gd name="T9" fmla="*/ 0 h 28"/>
                      <a:gd name="T10" fmla="*/ 14 w 14"/>
                      <a:gd name="T11" fmla="*/ 2 h 28"/>
                      <a:gd name="T12" fmla="*/ 3 w 14"/>
                      <a:gd name="T13" fmla="*/ 27 h 28"/>
                      <a:gd name="T14" fmla="*/ 2 w 14"/>
                      <a:gd name="T15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4" h="28">
                        <a:moveTo>
                          <a:pt x="2" y="28"/>
                        </a:moveTo>
                        <a:cubicBezTo>
                          <a:pt x="1" y="28"/>
                          <a:pt x="1" y="28"/>
                          <a:pt x="1" y="28"/>
                        </a:cubicBezTo>
                        <a:cubicBezTo>
                          <a:pt x="0" y="28"/>
                          <a:pt x="0" y="27"/>
                          <a:pt x="0" y="26"/>
                        </a:cubicBezTo>
                        <a:cubicBezTo>
                          <a:pt x="11" y="1"/>
                          <a:pt x="11" y="1"/>
                          <a:pt x="11" y="1"/>
                        </a:cubicBezTo>
                        <a:cubicBezTo>
                          <a:pt x="11" y="0"/>
                          <a:pt x="12" y="0"/>
                          <a:pt x="13" y="0"/>
                        </a:cubicBezTo>
                        <a:cubicBezTo>
                          <a:pt x="14" y="0"/>
                          <a:pt x="14" y="1"/>
                          <a:pt x="14" y="2"/>
                        </a:cubicBezTo>
                        <a:cubicBezTo>
                          <a:pt x="3" y="27"/>
                          <a:pt x="3" y="27"/>
                          <a:pt x="3" y="27"/>
                        </a:cubicBezTo>
                        <a:cubicBezTo>
                          <a:pt x="3" y="28"/>
                          <a:pt x="2" y="28"/>
                          <a:pt x="2" y="28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9" name="Freeform 132">
                    <a:extLst>
                      <a:ext uri="{FF2B5EF4-FFF2-40B4-BE49-F238E27FC236}">
                        <a16:creationId xmlns:a16="http://schemas.microsoft.com/office/drawing/2014/main" id="{AF48B361-C05E-4DDE-31B1-8D77BCF09E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31383" y="1886387"/>
                    <a:ext cx="120787" cy="199764"/>
                  </a:xfrm>
                  <a:custGeom>
                    <a:avLst/>
                    <a:gdLst>
                      <a:gd name="T0" fmla="*/ 25 w 26"/>
                      <a:gd name="T1" fmla="*/ 43 h 43"/>
                      <a:gd name="T2" fmla="*/ 24 w 26"/>
                      <a:gd name="T3" fmla="*/ 43 h 43"/>
                      <a:gd name="T4" fmla="*/ 1 w 26"/>
                      <a:gd name="T5" fmla="*/ 3 h 43"/>
                      <a:gd name="T6" fmla="*/ 1 w 26"/>
                      <a:gd name="T7" fmla="*/ 1 h 43"/>
                      <a:gd name="T8" fmla="*/ 3 w 26"/>
                      <a:gd name="T9" fmla="*/ 1 h 43"/>
                      <a:gd name="T10" fmla="*/ 26 w 26"/>
                      <a:gd name="T11" fmla="*/ 41 h 43"/>
                      <a:gd name="T12" fmla="*/ 25 w 26"/>
                      <a:gd name="T13" fmla="*/ 43 h 43"/>
                      <a:gd name="T14" fmla="*/ 25 w 26"/>
                      <a:gd name="T15" fmla="*/ 43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43">
                        <a:moveTo>
                          <a:pt x="25" y="43"/>
                        </a:moveTo>
                        <a:cubicBezTo>
                          <a:pt x="24" y="43"/>
                          <a:pt x="24" y="43"/>
                          <a:pt x="24" y="43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0" y="2"/>
                          <a:pt x="1" y="1"/>
                          <a:pt x="1" y="1"/>
                        </a:cubicBezTo>
                        <a:cubicBezTo>
                          <a:pt x="2" y="0"/>
                          <a:pt x="3" y="1"/>
                          <a:pt x="3" y="1"/>
                        </a:cubicBezTo>
                        <a:cubicBezTo>
                          <a:pt x="26" y="41"/>
                          <a:pt x="26" y="41"/>
                          <a:pt x="26" y="41"/>
                        </a:cubicBezTo>
                        <a:cubicBezTo>
                          <a:pt x="26" y="42"/>
                          <a:pt x="26" y="43"/>
                          <a:pt x="25" y="43"/>
                        </a:cubicBezTo>
                        <a:cubicBezTo>
                          <a:pt x="25" y="43"/>
                          <a:pt x="25" y="43"/>
                          <a:pt x="25" y="4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0" name="Freeform 133">
                    <a:extLst>
                      <a:ext uri="{FF2B5EF4-FFF2-40B4-BE49-F238E27FC236}">
                        <a16:creationId xmlns:a16="http://schemas.microsoft.com/office/drawing/2014/main" id="{83D8B64A-4B61-2679-A4DD-B15CDF8568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24297" y="3239822"/>
                    <a:ext cx="135499" cy="199764"/>
                  </a:xfrm>
                  <a:custGeom>
                    <a:avLst/>
                    <a:gdLst>
                      <a:gd name="T0" fmla="*/ 2 w 29"/>
                      <a:gd name="T1" fmla="*/ 43 h 43"/>
                      <a:gd name="T2" fmla="*/ 1 w 29"/>
                      <a:gd name="T3" fmla="*/ 43 h 43"/>
                      <a:gd name="T4" fmla="*/ 1 w 29"/>
                      <a:gd name="T5" fmla="*/ 41 h 43"/>
                      <a:gd name="T6" fmla="*/ 26 w 29"/>
                      <a:gd name="T7" fmla="*/ 1 h 43"/>
                      <a:gd name="T8" fmla="*/ 28 w 29"/>
                      <a:gd name="T9" fmla="*/ 1 h 43"/>
                      <a:gd name="T10" fmla="*/ 28 w 29"/>
                      <a:gd name="T11" fmla="*/ 2 h 43"/>
                      <a:gd name="T12" fmla="*/ 3 w 29"/>
                      <a:gd name="T13" fmla="*/ 42 h 43"/>
                      <a:gd name="T14" fmla="*/ 2 w 29"/>
                      <a:gd name="T15" fmla="*/ 43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9" h="43">
                        <a:moveTo>
                          <a:pt x="2" y="43"/>
                        </a:moveTo>
                        <a:cubicBezTo>
                          <a:pt x="2" y="43"/>
                          <a:pt x="2" y="43"/>
                          <a:pt x="1" y="43"/>
                        </a:cubicBezTo>
                        <a:cubicBezTo>
                          <a:pt x="1" y="42"/>
                          <a:pt x="0" y="42"/>
                          <a:pt x="1" y="41"/>
                        </a:cubicBezTo>
                        <a:cubicBezTo>
                          <a:pt x="26" y="1"/>
                          <a:pt x="26" y="1"/>
                          <a:pt x="26" y="1"/>
                        </a:cubicBezTo>
                        <a:cubicBezTo>
                          <a:pt x="27" y="0"/>
                          <a:pt x="27" y="0"/>
                          <a:pt x="28" y="1"/>
                        </a:cubicBezTo>
                        <a:cubicBezTo>
                          <a:pt x="29" y="1"/>
                          <a:pt x="29" y="2"/>
                          <a:pt x="28" y="2"/>
                        </a:cubicBezTo>
                        <a:cubicBezTo>
                          <a:pt x="3" y="42"/>
                          <a:pt x="3" y="42"/>
                          <a:pt x="3" y="42"/>
                        </a:cubicBezTo>
                        <a:cubicBezTo>
                          <a:pt x="3" y="43"/>
                          <a:pt x="2" y="43"/>
                          <a:pt x="2" y="4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1" name="Freeform 134">
                    <a:extLst>
                      <a:ext uri="{FF2B5EF4-FFF2-40B4-BE49-F238E27FC236}">
                        <a16:creationId xmlns:a16="http://schemas.microsoft.com/office/drawing/2014/main" id="{D4DF4D05-110F-5C3B-D692-2BF1B45299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35447" y="3337381"/>
                    <a:ext cx="233058" cy="404172"/>
                  </a:xfrm>
                  <a:custGeom>
                    <a:avLst/>
                    <a:gdLst>
                      <a:gd name="T0" fmla="*/ 2 w 50"/>
                      <a:gd name="T1" fmla="*/ 87 h 87"/>
                      <a:gd name="T2" fmla="*/ 1 w 50"/>
                      <a:gd name="T3" fmla="*/ 87 h 87"/>
                      <a:gd name="T4" fmla="*/ 1 w 50"/>
                      <a:gd name="T5" fmla="*/ 85 h 87"/>
                      <a:gd name="T6" fmla="*/ 48 w 50"/>
                      <a:gd name="T7" fmla="*/ 1 h 87"/>
                      <a:gd name="T8" fmla="*/ 49 w 50"/>
                      <a:gd name="T9" fmla="*/ 1 h 87"/>
                      <a:gd name="T10" fmla="*/ 50 w 50"/>
                      <a:gd name="T11" fmla="*/ 3 h 87"/>
                      <a:gd name="T12" fmla="*/ 3 w 50"/>
                      <a:gd name="T13" fmla="*/ 87 h 87"/>
                      <a:gd name="T14" fmla="*/ 2 w 50"/>
                      <a:gd name="T15" fmla="*/ 87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0" h="87">
                        <a:moveTo>
                          <a:pt x="2" y="87"/>
                        </a:moveTo>
                        <a:cubicBezTo>
                          <a:pt x="2" y="87"/>
                          <a:pt x="2" y="87"/>
                          <a:pt x="1" y="87"/>
                        </a:cubicBezTo>
                        <a:cubicBezTo>
                          <a:pt x="1" y="87"/>
                          <a:pt x="0" y="86"/>
                          <a:pt x="1" y="85"/>
                        </a:cubicBezTo>
                        <a:cubicBezTo>
                          <a:pt x="48" y="1"/>
                          <a:pt x="48" y="1"/>
                          <a:pt x="48" y="1"/>
                        </a:cubicBezTo>
                        <a:cubicBezTo>
                          <a:pt x="48" y="1"/>
                          <a:pt x="49" y="0"/>
                          <a:pt x="49" y="1"/>
                        </a:cubicBezTo>
                        <a:cubicBezTo>
                          <a:pt x="50" y="1"/>
                          <a:pt x="50" y="2"/>
                          <a:pt x="50" y="3"/>
                        </a:cubicBezTo>
                        <a:cubicBezTo>
                          <a:pt x="3" y="87"/>
                          <a:pt x="3" y="87"/>
                          <a:pt x="3" y="87"/>
                        </a:cubicBezTo>
                        <a:cubicBezTo>
                          <a:pt x="3" y="87"/>
                          <a:pt x="2" y="87"/>
                          <a:pt x="2" y="87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2" name="Freeform 135">
                    <a:extLst>
                      <a:ext uri="{FF2B5EF4-FFF2-40B4-BE49-F238E27FC236}">
                        <a16:creationId xmlns:a16="http://schemas.microsoft.com/office/drawing/2014/main" id="{B3CE9D30-B262-5DDA-2463-0FBABE2445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47480" y="3304861"/>
                    <a:ext cx="586127" cy="195118"/>
                  </a:xfrm>
                  <a:custGeom>
                    <a:avLst/>
                    <a:gdLst>
                      <a:gd name="T0" fmla="*/ 125 w 126"/>
                      <a:gd name="T1" fmla="*/ 42 h 42"/>
                      <a:gd name="T2" fmla="*/ 125 w 126"/>
                      <a:gd name="T3" fmla="*/ 42 h 42"/>
                      <a:gd name="T4" fmla="*/ 1 w 126"/>
                      <a:gd name="T5" fmla="*/ 2 h 42"/>
                      <a:gd name="T6" fmla="*/ 0 w 126"/>
                      <a:gd name="T7" fmla="*/ 1 h 42"/>
                      <a:gd name="T8" fmla="*/ 2 w 126"/>
                      <a:gd name="T9" fmla="*/ 0 h 42"/>
                      <a:gd name="T10" fmla="*/ 125 w 126"/>
                      <a:gd name="T11" fmla="*/ 39 h 42"/>
                      <a:gd name="T12" fmla="*/ 126 w 126"/>
                      <a:gd name="T13" fmla="*/ 41 h 42"/>
                      <a:gd name="T14" fmla="*/ 125 w 126"/>
                      <a:gd name="T15" fmla="*/ 4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6" h="42">
                        <a:moveTo>
                          <a:pt x="125" y="42"/>
                        </a:moveTo>
                        <a:cubicBezTo>
                          <a:pt x="125" y="42"/>
                          <a:pt x="125" y="42"/>
                          <a:pt x="125" y="42"/>
                        </a:cubicBezTo>
                        <a:cubicBezTo>
                          <a:pt x="1" y="2"/>
                          <a:pt x="1" y="2"/>
                          <a:pt x="1" y="2"/>
                        </a:cubicBezTo>
                        <a:cubicBezTo>
                          <a:pt x="1" y="2"/>
                          <a:pt x="0" y="1"/>
                          <a:pt x="0" y="1"/>
                        </a:cubicBezTo>
                        <a:cubicBezTo>
                          <a:pt x="1" y="0"/>
                          <a:pt x="1" y="0"/>
                          <a:pt x="2" y="0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6" y="39"/>
                          <a:pt x="126" y="40"/>
                          <a:pt x="126" y="41"/>
                        </a:cubicBezTo>
                        <a:cubicBezTo>
                          <a:pt x="126" y="41"/>
                          <a:pt x="126" y="42"/>
                          <a:pt x="125" y="42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3" name="Freeform 136">
                    <a:extLst>
                      <a:ext uri="{FF2B5EF4-FFF2-40B4-BE49-F238E27FC236}">
                        <a16:creationId xmlns:a16="http://schemas.microsoft.com/office/drawing/2014/main" id="{F02A1999-06BF-FBBF-D090-191997D4EC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79699" y="2816293"/>
                    <a:ext cx="279514" cy="414238"/>
                  </a:xfrm>
                  <a:custGeom>
                    <a:avLst/>
                    <a:gdLst>
                      <a:gd name="T0" fmla="*/ 58 w 60"/>
                      <a:gd name="T1" fmla="*/ 89 h 89"/>
                      <a:gd name="T2" fmla="*/ 57 w 60"/>
                      <a:gd name="T3" fmla="*/ 88 h 89"/>
                      <a:gd name="T4" fmla="*/ 1 w 60"/>
                      <a:gd name="T5" fmla="*/ 3 h 89"/>
                      <a:gd name="T6" fmla="*/ 1 w 60"/>
                      <a:gd name="T7" fmla="*/ 1 h 89"/>
                      <a:gd name="T8" fmla="*/ 3 w 60"/>
                      <a:gd name="T9" fmla="*/ 1 h 89"/>
                      <a:gd name="T10" fmla="*/ 59 w 60"/>
                      <a:gd name="T11" fmla="*/ 87 h 89"/>
                      <a:gd name="T12" fmla="*/ 59 w 60"/>
                      <a:gd name="T13" fmla="*/ 88 h 89"/>
                      <a:gd name="T14" fmla="*/ 58 w 60"/>
                      <a:gd name="T15" fmla="*/ 89 h 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0" h="89">
                        <a:moveTo>
                          <a:pt x="58" y="89"/>
                        </a:moveTo>
                        <a:cubicBezTo>
                          <a:pt x="58" y="89"/>
                          <a:pt x="57" y="88"/>
                          <a:pt x="57" y="88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0" y="2"/>
                          <a:pt x="1" y="1"/>
                          <a:pt x="1" y="1"/>
                        </a:cubicBezTo>
                        <a:cubicBezTo>
                          <a:pt x="2" y="0"/>
                          <a:pt x="3" y="1"/>
                          <a:pt x="3" y="1"/>
                        </a:cubicBezTo>
                        <a:cubicBezTo>
                          <a:pt x="59" y="87"/>
                          <a:pt x="59" y="87"/>
                          <a:pt x="59" y="87"/>
                        </a:cubicBezTo>
                        <a:cubicBezTo>
                          <a:pt x="60" y="87"/>
                          <a:pt x="59" y="88"/>
                          <a:pt x="59" y="88"/>
                        </a:cubicBezTo>
                        <a:cubicBezTo>
                          <a:pt x="59" y="89"/>
                          <a:pt x="58" y="89"/>
                          <a:pt x="58" y="89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4" name="Freeform 137">
                    <a:extLst>
                      <a:ext uri="{FF2B5EF4-FFF2-40B4-BE49-F238E27FC236}">
                        <a16:creationId xmlns:a16="http://schemas.microsoft.com/office/drawing/2014/main" id="{E8330BD7-7ABF-7FCF-FA51-F91CD44CB8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88818" y="4035003"/>
                    <a:ext cx="646521" cy="353070"/>
                  </a:xfrm>
                  <a:custGeom>
                    <a:avLst/>
                    <a:gdLst>
                      <a:gd name="T0" fmla="*/ 137 w 139"/>
                      <a:gd name="T1" fmla="*/ 76 h 76"/>
                      <a:gd name="T2" fmla="*/ 137 w 139"/>
                      <a:gd name="T3" fmla="*/ 76 h 76"/>
                      <a:gd name="T4" fmla="*/ 1 w 139"/>
                      <a:gd name="T5" fmla="*/ 3 h 76"/>
                      <a:gd name="T6" fmla="*/ 0 w 139"/>
                      <a:gd name="T7" fmla="*/ 1 h 76"/>
                      <a:gd name="T8" fmla="*/ 2 w 139"/>
                      <a:gd name="T9" fmla="*/ 0 h 76"/>
                      <a:gd name="T10" fmla="*/ 138 w 139"/>
                      <a:gd name="T11" fmla="*/ 73 h 76"/>
                      <a:gd name="T12" fmla="*/ 139 w 139"/>
                      <a:gd name="T13" fmla="*/ 75 h 76"/>
                      <a:gd name="T14" fmla="*/ 137 w 139"/>
                      <a:gd name="T15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39" h="76">
                        <a:moveTo>
                          <a:pt x="137" y="76"/>
                        </a:moveTo>
                        <a:cubicBezTo>
                          <a:pt x="137" y="76"/>
                          <a:pt x="137" y="76"/>
                          <a:pt x="137" y="76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0" y="2"/>
                          <a:pt x="0" y="1"/>
                          <a:pt x="0" y="1"/>
                        </a:cubicBezTo>
                        <a:cubicBezTo>
                          <a:pt x="1" y="0"/>
                          <a:pt x="1" y="0"/>
                          <a:pt x="2" y="0"/>
                        </a:cubicBezTo>
                        <a:cubicBezTo>
                          <a:pt x="138" y="73"/>
                          <a:pt x="138" y="73"/>
                          <a:pt x="138" y="73"/>
                        </a:cubicBezTo>
                        <a:cubicBezTo>
                          <a:pt x="139" y="74"/>
                          <a:pt x="139" y="75"/>
                          <a:pt x="139" y="75"/>
                        </a:cubicBezTo>
                        <a:cubicBezTo>
                          <a:pt x="138" y="76"/>
                          <a:pt x="138" y="76"/>
                          <a:pt x="137" y="7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5" name="Freeform 138">
                    <a:extLst>
                      <a:ext uri="{FF2B5EF4-FFF2-40B4-BE49-F238E27FC236}">
                        <a16:creationId xmlns:a16="http://schemas.microsoft.com/office/drawing/2014/main" id="{4369D680-0EB6-8DF7-ADF4-213C932B6F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63321" y="1402464"/>
                    <a:ext cx="237703" cy="344553"/>
                  </a:xfrm>
                  <a:custGeom>
                    <a:avLst/>
                    <a:gdLst>
                      <a:gd name="T0" fmla="*/ 1 w 51"/>
                      <a:gd name="T1" fmla="*/ 74 h 74"/>
                      <a:gd name="T2" fmla="*/ 1 w 51"/>
                      <a:gd name="T3" fmla="*/ 74 h 74"/>
                      <a:gd name="T4" fmla="*/ 0 w 51"/>
                      <a:gd name="T5" fmla="*/ 72 h 74"/>
                      <a:gd name="T6" fmla="*/ 48 w 51"/>
                      <a:gd name="T7" fmla="*/ 1 h 74"/>
                      <a:gd name="T8" fmla="*/ 50 w 51"/>
                      <a:gd name="T9" fmla="*/ 1 h 74"/>
                      <a:gd name="T10" fmla="*/ 50 w 51"/>
                      <a:gd name="T11" fmla="*/ 3 h 74"/>
                      <a:gd name="T12" fmla="*/ 2 w 51"/>
                      <a:gd name="T13" fmla="*/ 73 h 74"/>
                      <a:gd name="T14" fmla="*/ 1 w 51"/>
                      <a:gd name="T15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1" h="74">
                        <a:moveTo>
                          <a:pt x="1" y="74"/>
                        </a:moveTo>
                        <a:cubicBezTo>
                          <a:pt x="1" y="74"/>
                          <a:pt x="1" y="74"/>
                          <a:pt x="1" y="74"/>
                        </a:cubicBezTo>
                        <a:cubicBezTo>
                          <a:pt x="0" y="73"/>
                          <a:pt x="0" y="73"/>
                          <a:pt x="0" y="72"/>
                        </a:cubicBezTo>
                        <a:cubicBezTo>
                          <a:pt x="48" y="1"/>
                          <a:pt x="48" y="1"/>
                          <a:pt x="48" y="1"/>
                        </a:cubicBezTo>
                        <a:cubicBezTo>
                          <a:pt x="49" y="1"/>
                          <a:pt x="49" y="0"/>
                          <a:pt x="50" y="1"/>
                        </a:cubicBezTo>
                        <a:cubicBezTo>
                          <a:pt x="51" y="1"/>
                          <a:pt x="51" y="2"/>
                          <a:pt x="50" y="3"/>
                        </a:cubicBezTo>
                        <a:cubicBezTo>
                          <a:pt x="2" y="73"/>
                          <a:pt x="2" y="73"/>
                          <a:pt x="2" y="73"/>
                        </a:cubicBezTo>
                        <a:cubicBezTo>
                          <a:pt x="2" y="74"/>
                          <a:pt x="2" y="74"/>
                          <a:pt x="1" y="74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6" name="Freeform 139">
                    <a:extLst>
                      <a:ext uri="{FF2B5EF4-FFF2-40B4-BE49-F238E27FC236}">
                        <a16:creationId xmlns:a16="http://schemas.microsoft.com/office/drawing/2014/main" id="{9493A1B4-8640-089E-E251-11A0847BD5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17511" y="3997839"/>
                    <a:ext cx="864867" cy="394880"/>
                  </a:xfrm>
                  <a:custGeom>
                    <a:avLst/>
                    <a:gdLst>
                      <a:gd name="T0" fmla="*/ 1 w 186"/>
                      <a:gd name="T1" fmla="*/ 85 h 85"/>
                      <a:gd name="T2" fmla="*/ 0 w 186"/>
                      <a:gd name="T3" fmla="*/ 85 h 85"/>
                      <a:gd name="T4" fmla="*/ 1 w 186"/>
                      <a:gd name="T5" fmla="*/ 83 h 85"/>
                      <a:gd name="T6" fmla="*/ 183 w 186"/>
                      <a:gd name="T7" fmla="*/ 0 h 85"/>
                      <a:gd name="T8" fmla="*/ 185 w 186"/>
                      <a:gd name="T9" fmla="*/ 1 h 85"/>
                      <a:gd name="T10" fmla="*/ 185 w 186"/>
                      <a:gd name="T11" fmla="*/ 3 h 85"/>
                      <a:gd name="T12" fmla="*/ 2 w 186"/>
                      <a:gd name="T13" fmla="*/ 85 h 85"/>
                      <a:gd name="T14" fmla="*/ 1 w 186"/>
                      <a:gd name="T15" fmla="*/ 85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6" h="85">
                        <a:moveTo>
                          <a:pt x="1" y="85"/>
                        </a:moveTo>
                        <a:cubicBezTo>
                          <a:pt x="1" y="85"/>
                          <a:pt x="0" y="85"/>
                          <a:pt x="0" y="85"/>
                        </a:cubicBezTo>
                        <a:cubicBezTo>
                          <a:pt x="0" y="84"/>
                          <a:pt x="0" y="83"/>
                          <a:pt x="1" y="83"/>
                        </a:cubicBezTo>
                        <a:cubicBezTo>
                          <a:pt x="183" y="0"/>
                          <a:pt x="183" y="0"/>
                          <a:pt x="183" y="0"/>
                        </a:cubicBezTo>
                        <a:cubicBezTo>
                          <a:pt x="184" y="0"/>
                          <a:pt x="185" y="0"/>
                          <a:pt x="185" y="1"/>
                        </a:cubicBezTo>
                        <a:cubicBezTo>
                          <a:pt x="186" y="1"/>
                          <a:pt x="185" y="2"/>
                          <a:pt x="185" y="3"/>
                        </a:cubicBezTo>
                        <a:cubicBezTo>
                          <a:pt x="2" y="85"/>
                          <a:pt x="2" y="85"/>
                          <a:pt x="2" y="85"/>
                        </a:cubicBezTo>
                        <a:cubicBezTo>
                          <a:pt x="2" y="85"/>
                          <a:pt x="2" y="85"/>
                          <a:pt x="1" y="85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7" name="Freeform 140">
                    <a:extLst>
                      <a:ext uri="{FF2B5EF4-FFF2-40B4-BE49-F238E27FC236}">
                        <a16:creationId xmlns:a16="http://schemas.microsoft.com/office/drawing/2014/main" id="{3505B59B-875E-A573-C270-3793ABEEBA3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63621" y="1379237"/>
                    <a:ext cx="971717" cy="539671"/>
                  </a:xfrm>
                  <a:custGeom>
                    <a:avLst/>
                    <a:gdLst>
                      <a:gd name="T0" fmla="*/ 207 w 209"/>
                      <a:gd name="T1" fmla="*/ 116 h 116"/>
                      <a:gd name="T2" fmla="*/ 207 w 209"/>
                      <a:gd name="T3" fmla="*/ 116 h 116"/>
                      <a:gd name="T4" fmla="*/ 1 w 209"/>
                      <a:gd name="T5" fmla="*/ 3 h 116"/>
                      <a:gd name="T6" fmla="*/ 1 w 209"/>
                      <a:gd name="T7" fmla="*/ 1 h 116"/>
                      <a:gd name="T8" fmla="*/ 3 w 209"/>
                      <a:gd name="T9" fmla="*/ 0 h 116"/>
                      <a:gd name="T10" fmla="*/ 208 w 209"/>
                      <a:gd name="T11" fmla="*/ 114 h 116"/>
                      <a:gd name="T12" fmla="*/ 209 w 209"/>
                      <a:gd name="T13" fmla="*/ 116 h 116"/>
                      <a:gd name="T14" fmla="*/ 207 w 209"/>
                      <a:gd name="T15" fmla="*/ 116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9" h="116">
                        <a:moveTo>
                          <a:pt x="207" y="116"/>
                        </a:moveTo>
                        <a:cubicBezTo>
                          <a:pt x="207" y="116"/>
                          <a:pt x="207" y="116"/>
                          <a:pt x="207" y="116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1" y="2"/>
                          <a:pt x="0" y="2"/>
                          <a:pt x="1" y="1"/>
                        </a:cubicBezTo>
                        <a:cubicBezTo>
                          <a:pt x="1" y="0"/>
                          <a:pt x="2" y="0"/>
                          <a:pt x="3" y="0"/>
                        </a:cubicBezTo>
                        <a:cubicBezTo>
                          <a:pt x="208" y="114"/>
                          <a:pt x="208" y="114"/>
                          <a:pt x="208" y="114"/>
                        </a:cubicBezTo>
                        <a:cubicBezTo>
                          <a:pt x="209" y="114"/>
                          <a:pt x="209" y="115"/>
                          <a:pt x="209" y="116"/>
                        </a:cubicBezTo>
                        <a:cubicBezTo>
                          <a:pt x="208" y="116"/>
                          <a:pt x="208" y="116"/>
                          <a:pt x="207" y="11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8" name="Freeform 141">
                    <a:extLst>
                      <a:ext uri="{FF2B5EF4-FFF2-40B4-BE49-F238E27FC236}">
                        <a16:creationId xmlns:a16="http://schemas.microsoft.com/office/drawing/2014/main" id="{72C40E6E-E1EA-5EBC-AE85-52731B3A0E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47544" y="2607239"/>
                    <a:ext cx="967071" cy="492439"/>
                  </a:xfrm>
                  <a:custGeom>
                    <a:avLst/>
                    <a:gdLst>
                      <a:gd name="T0" fmla="*/ 206 w 208"/>
                      <a:gd name="T1" fmla="*/ 106 h 106"/>
                      <a:gd name="T2" fmla="*/ 205 w 208"/>
                      <a:gd name="T3" fmla="*/ 106 h 106"/>
                      <a:gd name="T4" fmla="*/ 1 w 208"/>
                      <a:gd name="T5" fmla="*/ 3 h 106"/>
                      <a:gd name="T6" fmla="*/ 1 w 208"/>
                      <a:gd name="T7" fmla="*/ 1 h 106"/>
                      <a:gd name="T8" fmla="*/ 3 w 208"/>
                      <a:gd name="T9" fmla="*/ 0 h 106"/>
                      <a:gd name="T10" fmla="*/ 207 w 208"/>
                      <a:gd name="T11" fmla="*/ 103 h 106"/>
                      <a:gd name="T12" fmla="*/ 207 w 208"/>
                      <a:gd name="T13" fmla="*/ 105 h 106"/>
                      <a:gd name="T14" fmla="*/ 206 w 208"/>
                      <a:gd name="T15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8" h="106">
                        <a:moveTo>
                          <a:pt x="206" y="106"/>
                        </a:moveTo>
                        <a:cubicBezTo>
                          <a:pt x="206" y="106"/>
                          <a:pt x="206" y="106"/>
                          <a:pt x="205" y="106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1" y="3"/>
                          <a:pt x="0" y="2"/>
                          <a:pt x="1" y="1"/>
                        </a:cubicBezTo>
                        <a:cubicBezTo>
                          <a:pt x="1" y="0"/>
                          <a:pt x="2" y="0"/>
                          <a:pt x="3" y="0"/>
                        </a:cubicBezTo>
                        <a:cubicBezTo>
                          <a:pt x="207" y="103"/>
                          <a:pt x="207" y="103"/>
                          <a:pt x="207" y="103"/>
                        </a:cubicBezTo>
                        <a:cubicBezTo>
                          <a:pt x="207" y="103"/>
                          <a:pt x="208" y="104"/>
                          <a:pt x="207" y="105"/>
                        </a:cubicBezTo>
                        <a:cubicBezTo>
                          <a:pt x="207" y="105"/>
                          <a:pt x="206" y="106"/>
                          <a:pt x="206" y="10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9" name="Freeform 142">
                    <a:extLst>
                      <a:ext uri="{FF2B5EF4-FFF2-40B4-BE49-F238E27FC236}">
                        <a16:creationId xmlns:a16="http://schemas.microsoft.com/office/drawing/2014/main" id="{110382AE-438E-30E6-780E-F09A2937F2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70062" y="3574309"/>
                    <a:ext cx="437467" cy="167244"/>
                  </a:xfrm>
                  <a:custGeom>
                    <a:avLst/>
                    <a:gdLst>
                      <a:gd name="T0" fmla="*/ 93 w 94"/>
                      <a:gd name="T1" fmla="*/ 36 h 36"/>
                      <a:gd name="T2" fmla="*/ 92 w 94"/>
                      <a:gd name="T3" fmla="*/ 36 h 36"/>
                      <a:gd name="T4" fmla="*/ 1 w 94"/>
                      <a:gd name="T5" fmla="*/ 3 h 36"/>
                      <a:gd name="T6" fmla="*/ 0 w 94"/>
                      <a:gd name="T7" fmla="*/ 1 h 36"/>
                      <a:gd name="T8" fmla="*/ 2 w 94"/>
                      <a:gd name="T9" fmla="*/ 0 h 36"/>
                      <a:gd name="T10" fmla="*/ 93 w 94"/>
                      <a:gd name="T11" fmla="*/ 33 h 36"/>
                      <a:gd name="T12" fmla="*/ 94 w 94"/>
                      <a:gd name="T13" fmla="*/ 35 h 36"/>
                      <a:gd name="T14" fmla="*/ 93 w 94"/>
                      <a:gd name="T15" fmla="*/ 36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4" h="36">
                        <a:moveTo>
                          <a:pt x="93" y="36"/>
                        </a:moveTo>
                        <a:cubicBezTo>
                          <a:pt x="93" y="36"/>
                          <a:pt x="93" y="36"/>
                          <a:pt x="92" y="36"/>
                        </a:cubicBezTo>
                        <a:cubicBezTo>
                          <a:pt x="1" y="3"/>
                          <a:pt x="1" y="3"/>
                          <a:pt x="1" y="3"/>
                        </a:cubicBezTo>
                        <a:cubicBezTo>
                          <a:pt x="0" y="3"/>
                          <a:pt x="0" y="2"/>
                          <a:pt x="0" y="1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4" y="33"/>
                          <a:pt x="94" y="34"/>
                          <a:pt x="94" y="35"/>
                        </a:cubicBezTo>
                        <a:cubicBezTo>
                          <a:pt x="94" y="36"/>
                          <a:pt x="94" y="36"/>
                          <a:pt x="93" y="3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0" name="Freeform 143">
                    <a:extLst>
                      <a:ext uri="{FF2B5EF4-FFF2-40B4-BE49-F238E27FC236}">
                        <a16:creationId xmlns:a16="http://schemas.microsoft.com/office/drawing/2014/main" id="{29E3806E-FA29-69E8-4757-E0638A2A17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96961" y="3253759"/>
                    <a:ext cx="236928" cy="1083213"/>
                  </a:xfrm>
                  <a:custGeom>
                    <a:avLst/>
                    <a:gdLst>
                      <a:gd name="T0" fmla="*/ 50 w 51"/>
                      <a:gd name="T1" fmla="*/ 233 h 233"/>
                      <a:gd name="T2" fmla="*/ 48 w 51"/>
                      <a:gd name="T3" fmla="*/ 232 h 233"/>
                      <a:gd name="T4" fmla="*/ 0 w 51"/>
                      <a:gd name="T5" fmla="*/ 2 h 233"/>
                      <a:gd name="T6" fmla="*/ 1 w 51"/>
                      <a:gd name="T7" fmla="*/ 0 h 233"/>
                      <a:gd name="T8" fmla="*/ 3 w 51"/>
                      <a:gd name="T9" fmla="*/ 1 h 233"/>
                      <a:gd name="T10" fmla="*/ 51 w 51"/>
                      <a:gd name="T11" fmla="*/ 232 h 233"/>
                      <a:gd name="T12" fmla="*/ 50 w 51"/>
                      <a:gd name="T13" fmla="*/ 233 h 233"/>
                      <a:gd name="T14" fmla="*/ 50 w 51"/>
                      <a:gd name="T15" fmla="*/ 233 h 2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1" h="233">
                        <a:moveTo>
                          <a:pt x="50" y="233"/>
                        </a:moveTo>
                        <a:cubicBezTo>
                          <a:pt x="49" y="233"/>
                          <a:pt x="48" y="233"/>
                          <a:pt x="48" y="232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1" y="0"/>
                          <a:pt x="1" y="0"/>
                        </a:cubicBezTo>
                        <a:cubicBezTo>
                          <a:pt x="2" y="0"/>
                          <a:pt x="3" y="0"/>
                          <a:pt x="3" y="1"/>
                        </a:cubicBezTo>
                        <a:cubicBezTo>
                          <a:pt x="51" y="232"/>
                          <a:pt x="51" y="232"/>
                          <a:pt x="51" y="232"/>
                        </a:cubicBezTo>
                        <a:cubicBezTo>
                          <a:pt x="51" y="232"/>
                          <a:pt x="51" y="233"/>
                          <a:pt x="50" y="233"/>
                        </a:cubicBezTo>
                        <a:cubicBezTo>
                          <a:pt x="50" y="233"/>
                          <a:pt x="50" y="233"/>
                          <a:pt x="50" y="233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1" name="Freeform 144">
                    <a:extLst>
                      <a:ext uri="{FF2B5EF4-FFF2-40B4-BE49-F238E27FC236}">
                        <a16:creationId xmlns:a16="http://schemas.microsoft.com/office/drawing/2014/main" id="{52D71D03-F9E0-B876-2A16-819ED44387A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70126" y="4467049"/>
                    <a:ext cx="125432" cy="278739"/>
                  </a:xfrm>
                  <a:custGeom>
                    <a:avLst/>
                    <a:gdLst>
                      <a:gd name="T0" fmla="*/ 2 w 27"/>
                      <a:gd name="T1" fmla="*/ 60 h 60"/>
                      <a:gd name="T2" fmla="*/ 1 w 27"/>
                      <a:gd name="T3" fmla="*/ 60 h 60"/>
                      <a:gd name="T4" fmla="*/ 0 w 27"/>
                      <a:gd name="T5" fmla="*/ 58 h 60"/>
                      <a:gd name="T6" fmla="*/ 24 w 27"/>
                      <a:gd name="T7" fmla="*/ 1 h 60"/>
                      <a:gd name="T8" fmla="*/ 26 w 27"/>
                      <a:gd name="T9" fmla="*/ 0 h 60"/>
                      <a:gd name="T10" fmla="*/ 27 w 27"/>
                      <a:gd name="T11" fmla="*/ 2 h 60"/>
                      <a:gd name="T12" fmla="*/ 3 w 27"/>
                      <a:gd name="T13" fmla="*/ 60 h 60"/>
                      <a:gd name="T14" fmla="*/ 2 w 27"/>
                      <a:gd name="T15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7" h="60">
                        <a:moveTo>
                          <a:pt x="2" y="60"/>
                        </a:moveTo>
                        <a:cubicBezTo>
                          <a:pt x="1" y="60"/>
                          <a:pt x="1" y="60"/>
                          <a:pt x="1" y="60"/>
                        </a:cubicBezTo>
                        <a:cubicBezTo>
                          <a:pt x="0" y="60"/>
                          <a:pt x="0" y="59"/>
                          <a:pt x="0" y="58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5" y="0"/>
                          <a:pt x="26" y="0"/>
                          <a:pt x="26" y="0"/>
                        </a:cubicBezTo>
                        <a:cubicBezTo>
                          <a:pt x="27" y="1"/>
                          <a:pt x="27" y="2"/>
                          <a:pt x="27" y="2"/>
                        </a:cubicBezTo>
                        <a:cubicBezTo>
                          <a:pt x="3" y="60"/>
                          <a:pt x="3" y="60"/>
                          <a:pt x="3" y="60"/>
                        </a:cubicBezTo>
                        <a:cubicBezTo>
                          <a:pt x="3" y="60"/>
                          <a:pt x="2" y="60"/>
                          <a:pt x="2" y="60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2" name="Freeform 145">
                    <a:extLst>
                      <a:ext uri="{FF2B5EF4-FFF2-40B4-BE49-F238E27FC236}">
                        <a16:creationId xmlns:a16="http://schemas.microsoft.com/office/drawing/2014/main" id="{556E0D9B-5F99-B90F-23B6-94E1E2FF8C6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95795" y="3801946"/>
                    <a:ext cx="195118" cy="469986"/>
                  </a:xfrm>
                  <a:custGeom>
                    <a:avLst/>
                    <a:gdLst>
                      <a:gd name="T0" fmla="*/ 40 w 42"/>
                      <a:gd name="T1" fmla="*/ 101 h 101"/>
                      <a:gd name="T2" fmla="*/ 39 w 42"/>
                      <a:gd name="T3" fmla="*/ 100 h 101"/>
                      <a:gd name="T4" fmla="*/ 0 w 42"/>
                      <a:gd name="T5" fmla="*/ 2 h 101"/>
                      <a:gd name="T6" fmla="*/ 1 w 42"/>
                      <a:gd name="T7" fmla="*/ 1 h 101"/>
                      <a:gd name="T8" fmla="*/ 3 w 42"/>
                      <a:gd name="T9" fmla="*/ 2 h 101"/>
                      <a:gd name="T10" fmla="*/ 42 w 42"/>
                      <a:gd name="T11" fmla="*/ 99 h 101"/>
                      <a:gd name="T12" fmla="*/ 41 w 42"/>
                      <a:gd name="T13" fmla="*/ 101 h 101"/>
                      <a:gd name="T14" fmla="*/ 40 w 42"/>
                      <a:gd name="T15" fmla="*/ 101 h 1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2" h="101">
                        <a:moveTo>
                          <a:pt x="40" y="101"/>
                        </a:moveTo>
                        <a:cubicBezTo>
                          <a:pt x="40" y="101"/>
                          <a:pt x="39" y="100"/>
                          <a:pt x="39" y="100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2"/>
                          <a:pt x="0" y="1"/>
                          <a:pt x="1" y="1"/>
                        </a:cubicBezTo>
                        <a:cubicBezTo>
                          <a:pt x="2" y="0"/>
                          <a:pt x="3" y="1"/>
                          <a:pt x="3" y="2"/>
                        </a:cubicBezTo>
                        <a:cubicBezTo>
                          <a:pt x="42" y="99"/>
                          <a:pt x="42" y="99"/>
                          <a:pt x="42" y="99"/>
                        </a:cubicBezTo>
                        <a:cubicBezTo>
                          <a:pt x="42" y="100"/>
                          <a:pt x="42" y="100"/>
                          <a:pt x="41" y="101"/>
                        </a:cubicBezTo>
                        <a:cubicBezTo>
                          <a:pt x="41" y="101"/>
                          <a:pt x="40" y="101"/>
                          <a:pt x="40" y="101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3" name="Freeform 146">
                    <a:extLst>
                      <a:ext uri="{FF2B5EF4-FFF2-40B4-BE49-F238E27FC236}">
                        <a16:creationId xmlns:a16="http://schemas.microsoft.com/office/drawing/2014/main" id="{DA688D55-BBA5-1EE5-022A-EBA30FCA53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400678" y="2565427"/>
                    <a:ext cx="78976" cy="497085"/>
                  </a:xfrm>
                  <a:custGeom>
                    <a:avLst/>
                    <a:gdLst>
                      <a:gd name="T0" fmla="*/ 16 w 17"/>
                      <a:gd name="T1" fmla="*/ 107 h 107"/>
                      <a:gd name="T2" fmla="*/ 14 w 17"/>
                      <a:gd name="T3" fmla="*/ 106 h 107"/>
                      <a:gd name="T4" fmla="*/ 0 w 17"/>
                      <a:gd name="T5" fmla="*/ 2 h 107"/>
                      <a:gd name="T6" fmla="*/ 1 w 17"/>
                      <a:gd name="T7" fmla="*/ 0 h 107"/>
                      <a:gd name="T8" fmla="*/ 2 w 17"/>
                      <a:gd name="T9" fmla="*/ 1 h 107"/>
                      <a:gd name="T10" fmla="*/ 17 w 17"/>
                      <a:gd name="T11" fmla="*/ 105 h 107"/>
                      <a:gd name="T12" fmla="*/ 16 w 17"/>
                      <a:gd name="T13" fmla="*/ 107 h 107"/>
                      <a:gd name="T14" fmla="*/ 16 w 17"/>
                      <a:gd name="T15" fmla="*/ 107 h 1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7" h="107">
                        <a:moveTo>
                          <a:pt x="16" y="107"/>
                        </a:moveTo>
                        <a:cubicBezTo>
                          <a:pt x="15" y="107"/>
                          <a:pt x="14" y="106"/>
                          <a:pt x="14" y="106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0" y="0"/>
                          <a:pt x="1" y="0"/>
                        </a:cubicBezTo>
                        <a:cubicBezTo>
                          <a:pt x="2" y="0"/>
                          <a:pt x="2" y="0"/>
                          <a:pt x="2" y="1"/>
                        </a:cubicBezTo>
                        <a:cubicBezTo>
                          <a:pt x="17" y="105"/>
                          <a:pt x="17" y="105"/>
                          <a:pt x="17" y="105"/>
                        </a:cubicBezTo>
                        <a:cubicBezTo>
                          <a:pt x="17" y="106"/>
                          <a:pt x="17" y="107"/>
                          <a:pt x="16" y="107"/>
                        </a:cubicBezTo>
                        <a:cubicBezTo>
                          <a:pt x="16" y="107"/>
                          <a:pt x="16" y="107"/>
                          <a:pt x="16" y="107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4" name="Freeform 147">
                    <a:extLst>
                      <a:ext uri="{FF2B5EF4-FFF2-40B4-BE49-F238E27FC236}">
                        <a16:creationId xmlns:a16="http://schemas.microsoft.com/office/drawing/2014/main" id="{7143A664-A7A8-713E-5AB1-A7F91B99B6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423906" y="2025756"/>
                    <a:ext cx="418109" cy="539671"/>
                  </a:xfrm>
                  <a:custGeom>
                    <a:avLst/>
                    <a:gdLst>
                      <a:gd name="T0" fmla="*/ 1 w 90"/>
                      <a:gd name="T1" fmla="*/ 116 h 116"/>
                      <a:gd name="T2" fmla="*/ 1 w 90"/>
                      <a:gd name="T3" fmla="*/ 116 h 116"/>
                      <a:gd name="T4" fmla="*/ 0 w 90"/>
                      <a:gd name="T5" fmla="*/ 114 h 116"/>
                      <a:gd name="T6" fmla="*/ 87 w 90"/>
                      <a:gd name="T7" fmla="*/ 1 h 116"/>
                      <a:gd name="T8" fmla="*/ 89 w 90"/>
                      <a:gd name="T9" fmla="*/ 0 h 116"/>
                      <a:gd name="T10" fmla="*/ 89 w 90"/>
                      <a:gd name="T11" fmla="*/ 2 h 116"/>
                      <a:gd name="T12" fmla="*/ 2 w 90"/>
                      <a:gd name="T13" fmla="*/ 115 h 116"/>
                      <a:gd name="T14" fmla="*/ 1 w 90"/>
                      <a:gd name="T15" fmla="*/ 116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0" h="116">
                        <a:moveTo>
                          <a:pt x="1" y="116"/>
                        </a:moveTo>
                        <a:cubicBezTo>
                          <a:pt x="1" y="116"/>
                          <a:pt x="1" y="116"/>
                          <a:pt x="1" y="116"/>
                        </a:cubicBezTo>
                        <a:cubicBezTo>
                          <a:pt x="0" y="115"/>
                          <a:pt x="0" y="114"/>
                          <a:pt x="0" y="114"/>
                        </a:cubicBezTo>
                        <a:cubicBezTo>
                          <a:pt x="87" y="1"/>
                          <a:pt x="87" y="1"/>
                          <a:pt x="87" y="1"/>
                        </a:cubicBezTo>
                        <a:cubicBezTo>
                          <a:pt x="87" y="0"/>
                          <a:pt x="88" y="0"/>
                          <a:pt x="89" y="0"/>
                        </a:cubicBezTo>
                        <a:cubicBezTo>
                          <a:pt x="89" y="1"/>
                          <a:pt x="90" y="2"/>
                          <a:pt x="89" y="2"/>
                        </a:cubicBezTo>
                        <a:cubicBezTo>
                          <a:pt x="2" y="115"/>
                          <a:pt x="2" y="115"/>
                          <a:pt x="2" y="115"/>
                        </a:cubicBezTo>
                        <a:cubicBezTo>
                          <a:pt x="2" y="116"/>
                          <a:pt x="2" y="116"/>
                          <a:pt x="1" y="116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5" name="Freeform 148">
                    <a:extLst>
                      <a:ext uri="{FF2B5EF4-FFF2-40B4-BE49-F238E27FC236}">
                        <a16:creationId xmlns:a16="http://schemas.microsoft.com/office/drawing/2014/main" id="{1E8C07E1-A75D-8591-9637-A9767243702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930282" y="2058276"/>
                    <a:ext cx="102205" cy="372427"/>
                  </a:xfrm>
                  <a:custGeom>
                    <a:avLst/>
                    <a:gdLst>
                      <a:gd name="T0" fmla="*/ 20 w 22"/>
                      <a:gd name="T1" fmla="*/ 80 h 80"/>
                      <a:gd name="T2" fmla="*/ 19 w 22"/>
                      <a:gd name="T3" fmla="*/ 79 h 80"/>
                      <a:gd name="T4" fmla="*/ 0 w 22"/>
                      <a:gd name="T5" fmla="*/ 1 h 80"/>
                      <a:gd name="T6" fmla="*/ 1 w 22"/>
                      <a:gd name="T7" fmla="*/ 0 h 80"/>
                      <a:gd name="T8" fmla="*/ 3 w 22"/>
                      <a:gd name="T9" fmla="*/ 1 h 80"/>
                      <a:gd name="T10" fmla="*/ 22 w 22"/>
                      <a:gd name="T11" fmla="*/ 78 h 80"/>
                      <a:gd name="T12" fmla="*/ 21 w 22"/>
                      <a:gd name="T13" fmla="*/ 80 h 80"/>
                      <a:gd name="T14" fmla="*/ 20 w 22"/>
                      <a:gd name="T15" fmla="*/ 80 h 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2" h="80">
                        <a:moveTo>
                          <a:pt x="20" y="80"/>
                        </a:moveTo>
                        <a:cubicBezTo>
                          <a:pt x="20" y="80"/>
                          <a:pt x="19" y="79"/>
                          <a:pt x="19" y="79"/>
                        </a:cubicBezTo>
                        <a:cubicBezTo>
                          <a:pt x="0" y="1"/>
                          <a:pt x="0" y="1"/>
                          <a:pt x="0" y="1"/>
                        </a:cubicBezTo>
                        <a:cubicBezTo>
                          <a:pt x="0" y="1"/>
                          <a:pt x="1" y="0"/>
                          <a:pt x="1" y="0"/>
                        </a:cubicBezTo>
                        <a:cubicBezTo>
                          <a:pt x="2" y="0"/>
                          <a:pt x="3" y="0"/>
                          <a:pt x="3" y="1"/>
                        </a:cubicBezTo>
                        <a:cubicBezTo>
                          <a:pt x="22" y="78"/>
                          <a:pt x="22" y="78"/>
                          <a:pt x="22" y="78"/>
                        </a:cubicBezTo>
                        <a:cubicBezTo>
                          <a:pt x="22" y="79"/>
                          <a:pt x="21" y="79"/>
                          <a:pt x="21" y="80"/>
                        </a:cubicBezTo>
                        <a:cubicBezTo>
                          <a:pt x="21" y="80"/>
                          <a:pt x="20" y="80"/>
                          <a:pt x="20" y="80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6" name="Freeform 149">
                    <a:extLst>
                      <a:ext uri="{FF2B5EF4-FFF2-40B4-BE49-F238E27FC236}">
                        <a16:creationId xmlns:a16="http://schemas.microsoft.com/office/drawing/2014/main" id="{5340775E-365E-A07B-96CC-068B43E5007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725874" y="1351362"/>
                    <a:ext cx="301968" cy="92913"/>
                  </a:xfrm>
                  <a:custGeom>
                    <a:avLst/>
                    <a:gdLst>
                      <a:gd name="T0" fmla="*/ 2 w 65"/>
                      <a:gd name="T1" fmla="*/ 20 h 20"/>
                      <a:gd name="T2" fmla="*/ 0 w 65"/>
                      <a:gd name="T3" fmla="*/ 19 h 20"/>
                      <a:gd name="T4" fmla="*/ 1 w 65"/>
                      <a:gd name="T5" fmla="*/ 17 h 20"/>
                      <a:gd name="T6" fmla="*/ 63 w 65"/>
                      <a:gd name="T7" fmla="*/ 0 h 20"/>
                      <a:gd name="T8" fmla="*/ 64 w 65"/>
                      <a:gd name="T9" fmla="*/ 1 h 20"/>
                      <a:gd name="T10" fmla="*/ 63 w 65"/>
                      <a:gd name="T11" fmla="*/ 3 h 20"/>
                      <a:gd name="T12" fmla="*/ 2 w 65"/>
                      <a:gd name="T13" fmla="*/ 20 h 20"/>
                      <a:gd name="T14" fmla="*/ 2 w 65"/>
                      <a:gd name="T15" fmla="*/ 20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5" h="20">
                        <a:moveTo>
                          <a:pt x="2" y="20"/>
                        </a:moveTo>
                        <a:cubicBezTo>
                          <a:pt x="1" y="20"/>
                          <a:pt x="1" y="19"/>
                          <a:pt x="0" y="19"/>
                        </a:cubicBezTo>
                        <a:cubicBezTo>
                          <a:pt x="0" y="18"/>
                          <a:pt x="1" y="17"/>
                          <a:pt x="1" y="17"/>
                        </a:cubicBezTo>
                        <a:cubicBezTo>
                          <a:pt x="63" y="0"/>
                          <a:pt x="63" y="0"/>
                          <a:pt x="63" y="0"/>
                        </a:cubicBezTo>
                        <a:cubicBezTo>
                          <a:pt x="63" y="0"/>
                          <a:pt x="64" y="1"/>
                          <a:pt x="64" y="1"/>
                        </a:cubicBezTo>
                        <a:cubicBezTo>
                          <a:pt x="65" y="2"/>
                          <a:pt x="64" y="3"/>
                          <a:pt x="63" y="3"/>
                        </a:cubicBezTo>
                        <a:cubicBezTo>
                          <a:pt x="2" y="20"/>
                          <a:pt x="2" y="20"/>
                          <a:pt x="2" y="20"/>
                        </a:cubicBezTo>
                        <a:cubicBezTo>
                          <a:pt x="2" y="20"/>
                          <a:pt x="2" y="20"/>
                          <a:pt x="2" y="20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7" name="Freeform 150">
                    <a:extLst>
                      <a:ext uri="{FF2B5EF4-FFF2-40B4-BE49-F238E27FC236}">
                        <a16:creationId xmlns:a16="http://schemas.microsoft.com/office/drawing/2014/main" id="{CC22674A-FAAE-7DE2-D29E-CEBBB635B7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67922" y="1035457"/>
                    <a:ext cx="120787" cy="380944"/>
                  </a:xfrm>
                  <a:custGeom>
                    <a:avLst/>
                    <a:gdLst>
                      <a:gd name="T0" fmla="*/ 25 w 26"/>
                      <a:gd name="T1" fmla="*/ 82 h 82"/>
                      <a:gd name="T2" fmla="*/ 24 w 26"/>
                      <a:gd name="T3" fmla="*/ 81 h 82"/>
                      <a:gd name="T4" fmla="*/ 0 w 26"/>
                      <a:gd name="T5" fmla="*/ 2 h 82"/>
                      <a:gd name="T6" fmla="*/ 1 w 26"/>
                      <a:gd name="T7" fmla="*/ 0 h 82"/>
                      <a:gd name="T8" fmla="*/ 2 w 26"/>
                      <a:gd name="T9" fmla="*/ 1 h 82"/>
                      <a:gd name="T10" fmla="*/ 26 w 26"/>
                      <a:gd name="T11" fmla="*/ 81 h 82"/>
                      <a:gd name="T12" fmla="*/ 25 w 26"/>
                      <a:gd name="T13" fmla="*/ 82 h 82"/>
                      <a:gd name="T14" fmla="*/ 25 w 26"/>
                      <a:gd name="T15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82">
                        <a:moveTo>
                          <a:pt x="25" y="82"/>
                        </a:moveTo>
                        <a:cubicBezTo>
                          <a:pt x="24" y="82"/>
                          <a:pt x="24" y="82"/>
                          <a:pt x="24" y="81"/>
                        </a:cubicBezTo>
                        <a:cubicBezTo>
                          <a:pt x="0" y="2"/>
                          <a:pt x="0" y="2"/>
                          <a:pt x="0" y="2"/>
                        </a:cubicBezTo>
                        <a:cubicBezTo>
                          <a:pt x="0" y="1"/>
                          <a:pt x="0" y="1"/>
                          <a:pt x="1" y="0"/>
                        </a:cubicBezTo>
                        <a:cubicBezTo>
                          <a:pt x="1" y="0"/>
                          <a:pt x="2" y="1"/>
                          <a:pt x="2" y="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2"/>
                          <a:pt x="25" y="82"/>
                        </a:cubicBezTo>
                        <a:cubicBezTo>
                          <a:pt x="25" y="82"/>
                          <a:pt x="25" y="82"/>
                          <a:pt x="25" y="82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8" name="Freeform 151">
                    <a:extLst>
                      <a:ext uri="{FF2B5EF4-FFF2-40B4-BE49-F238E27FC236}">
                        <a16:creationId xmlns:a16="http://schemas.microsoft.com/office/drawing/2014/main" id="{4533DF49-FF6F-6454-C7E7-6A7A5851210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53683" y="574763"/>
                    <a:ext cx="279514" cy="186601"/>
                  </a:xfrm>
                  <a:custGeom>
                    <a:avLst/>
                    <a:gdLst>
                      <a:gd name="T0" fmla="*/ 58 w 60"/>
                      <a:gd name="T1" fmla="*/ 40 h 40"/>
                      <a:gd name="T2" fmla="*/ 57 w 60"/>
                      <a:gd name="T3" fmla="*/ 40 h 40"/>
                      <a:gd name="T4" fmla="*/ 1 w 60"/>
                      <a:gd name="T5" fmla="*/ 2 h 40"/>
                      <a:gd name="T6" fmla="*/ 1 w 60"/>
                      <a:gd name="T7" fmla="*/ 1 h 40"/>
                      <a:gd name="T8" fmla="*/ 3 w 60"/>
                      <a:gd name="T9" fmla="*/ 0 h 40"/>
                      <a:gd name="T10" fmla="*/ 59 w 60"/>
                      <a:gd name="T11" fmla="*/ 38 h 40"/>
                      <a:gd name="T12" fmla="*/ 59 w 60"/>
                      <a:gd name="T13" fmla="*/ 39 h 40"/>
                      <a:gd name="T14" fmla="*/ 58 w 60"/>
                      <a:gd name="T15" fmla="*/ 4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0" h="40">
                        <a:moveTo>
                          <a:pt x="58" y="40"/>
                        </a:moveTo>
                        <a:cubicBezTo>
                          <a:pt x="58" y="40"/>
                          <a:pt x="57" y="40"/>
                          <a:pt x="57" y="40"/>
                        </a:cubicBezTo>
                        <a:cubicBezTo>
                          <a:pt x="1" y="2"/>
                          <a:pt x="1" y="2"/>
                          <a:pt x="1" y="2"/>
                        </a:cubicBezTo>
                        <a:cubicBezTo>
                          <a:pt x="1" y="2"/>
                          <a:pt x="0" y="1"/>
                          <a:pt x="1" y="1"/>
                        </a:cubicBezTo>
                        <a:cubicBezTo>
                          <a:pt x="1" y="0"/>
                          <a:pt x="2" y="0"/>
                          <a:pt x="3" y="0"/>
                        </a:cubicBezTo>
                        <a:cubicBezTo>
                          <a:pt x="59" y="38"/>
                          <a:pt x="59" y="38"/>
                          <a:pt x="59" y="38"/>
                        </a:cubicBezTo>
                        <a:cubicBezTo>
                          <a:pt x="59" y="38"/>
                          <a:pt x="60" y="39"/>
                          <a:pt x="59" y="39"/>
                        </a:cubicBezTo>
                        <a:cubicBezTo>
                          <a:pt x="59" y="40"/>
                          <a:pt x="58" y="40"/>
                          <a:pt x="58" y="40"/>
                        </a:cubicBezTo>
                        <a:close/>
                      </a:path>
                    </a:pathLst>
                  </a:custGeom>
                  <a:grpFill/>
                  <a:ln w="3175">
                    <a:solidFill>
                      <a:schemeClr val="bg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686"/>
                    <a:endParaRPr lang="en-US" sz="1400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21" name="Freeform 120">
                  <a:extLst>
                    <a:ext uri="{FF2B5EF4-FFF2-40B4-BE49-F238E27FC236}">
                      <a16:creationId xmlns:a16="http://schemas.microsoft.com/office/drawing/2014/main" id="{1D7E2137-3B18-63E5-C6D1-9A7999D1E7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1323" y="4611065"/>
                  <a:ext cx="222991" cy="185826"/>
                </a:xfrm>
                <a:custGeom>
                  <a:avLst/>
                  <a:gdLst>
                    <a:gd name="T0" fmla="*/ 12 w 288"/>
                    <a:gd name="T1" fmla="*/ 240 h 240"/>
                    <a:gd name="T2" fmla="*/ 0 w 288"/>
                    <a:gd name="T3" fmla="*/ 228 h 240"/>
                    <a:gd name="T4" fmla="*/ 276 w 288"/>
                    <a:gd name="T5" fmla="*/ 0 h 240"/>
                    <a:gd name="T6" fmla="*/ 288 w 288"/>
                    <a:gd name="T7" fmla="*/ 12 h 240"/>
                    <a:gd name="T8" fmla="*/ 12 w 288"/>
                    <a:gd name="T9" fmla="*/ 24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8" h="240">
                      <a:moveTo>
                        <a:pt x="12" y="240"/>
                      </a:moveTo>
                      <a:lnTo>
                        <a:pt x="0" y="228"/>
                      </a:lnTo>
                      <a:lnTo>
                        <a:pt x="276" y="0"/>
                      </a:lnTo>
                      <a:lnTo>
                        <a:pt x="288" y="12"/>
                      </a:lnTo>
                      <a:lnTo>
                        <a:pt x="12" y="24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86"/>
                  <a:endParaRPr lang="en-US" sz="1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" name="Freeform 119">
                  <a:extLst>
                    <a:ext uri="{FF2B5EF4-FFF2-40B4-BE49-F238E27FC236}">
                      <a16:creationId xmlns:a16="http://schemas.microsoft.com/office/drawing/2014/main" id="{C9DF7551-FC73-292C-D431-CD1FB4F2D5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5762" y="4179019"/>
                  <a:ext cx="37166" cy="269448"/>
                </a:xfrm>
                <a:custGeom>
                  <a:avLst/>
                  <a:gdLst>
                    <a:gd name="T0" fmla="*/ 30 w 48"/>
                    <a:gd name="T1" fmla="*/ 348 h 348"/>
                    <a:gd name="T2" fmla="*/ 0 w 48"/>
                    <a:gd name="T3" fmla="*/ 6 h 348"/>
                    <a:gd name="T4" fmla="*/ 12 w 48"/>
                    <a:gd name="T5" fmla="*/ 0 h 348"/>
                    <a:gd name="T6" fmla="*/ 48 w 48"/>
                    <a:gd name="T7" fmla="*/ 348 h 348"/>
                    <a:gd name="T8" fmla="*/ 30 w 48"/>
                    <a:gd name="T9" fmla="*/ 348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348">
                      <a:moveTo>
                        <a:pt x="30" y="348"/>
                      </a:moveTo>
                      <a:lnTo>
                        <a:pt x="0" y="6"/>
                      </a:lnTo>
                      <a:lnTo>
                        <a:pt x="12" y="0"/>
                      </a:lnTo>
                      <a:lnTo>
                        <a:pt x="48" y="348"/>
                      </a:lnTo>
                      <a:lnTo>
                        <a:pt x="30" y="34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86"/>
                  <a:endParaRPr lang="en-US" sz="14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215" name="Text Placeholder 3">
            <a:extLst>
              <a:ext uri="{FF2B5EF4-FFF2-40B4-BE49-F238E27FC236}">
                <a16:creationId xmlns:a16="http://schemas.microsoft.com/office/drawing/2014/main" id="{8C2F190D-E851-227C-5851-05D07BB30A1A}"/>
              </a:ext>
            </a:extLst>
          </p:cNvPr>
          <p:cNvSpPr txBox="1">
            <a:spLocks/>
          </p:cNvSpPr>
          <p:nvPr/>
        </p:nvSpPr>
        <p:spPr>
          <a:xfrm>
            <a:off x="396234" y="674450"/>
            <a:ext cx="11188700" cy="7572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575757"/>
                </a:solidFill>
              </a:rPr>
              <a:t>Selecting ML models for predicting machine failure</a:t>
            </a:r>
          </a:p>
        </p:txBody>
      </p:sp>
    </p:spTree>
    <p:extLst>
      <p:ext uri="{BB962C8B-B14F-4D97-AF65-F5344CB8AC3E}">
        <p14:creationId xmlns:p14="http://schemas.microsoft.com/office/powerpoint/2010/main" val="148484178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28124E-124D-26AD-9E98-AED6DDAE87DE}"/>
              </a:ext>
            </a:extLst>
          </p:cNvPr>
          <p:cNvSpPr txBox="1">
            <a:spLocks/>
          </p:cNvSpPr>
          <p:nvPr/>
        </p:nvSpPr>
        <p:spPr>
          <a:xfrm>
            <a:off x="496284" y="719038"/>
            <a:ext cx="11188700" cy="334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575757"/>
                </a:solidFill>
              </a:rPr>
              <a:t>Holdout set a</a:t>
            </a:r>
            <a:r>
              <a:rPr lang="en-US"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rPr>
              <a:t>ccuracy </a:t>
            </a:r>
            <a:r>
              <a:rPr lang="en-US" sz="1800">
                <a:solidFill>
                  <a:srgbClr val="575757"/>
                </a:solidFill>
              </a:rPr>
              <a:t>b</a:t>
            </a:r>
            <a:r>
              <a:rPr lang="en-US"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rPr>
              <a:t>efore </a:t>
            </a:r>
            <a:r>
              <a:rPr lang="en-US" sz="1800">
                <a:solidFill>
                  <a:srgbClr val="575757"/>
                </a:solidFill>
              </a:rPr>
              <a:t>t</a:t>
            </a:r>
            <a:r>
              <a:rPr lang="en-US"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rPr>
              <a:t>uning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18FBA9E-462E-CD53-2D5F-C9722D6BB109}"/>
              </a:ext>
            </a:extLst>
          </p:cNvPr>
          <p:cNvSpPr txBox="1">
            <a:spLocks/>
          </p:cNvSpPr>
          <p:nvPr/>
        </p:nvSpPr>
        <p:spPr bwMode="gray">
          <a:xfrm>
            <a:off x="485133" y="43897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altLang="ja-JP" kern="1200">
                <a:latin typeface="+mn-lt"/>
                <a:ea typeface="+mj-ea"/>
                <a:cs typeface="Calibri Light" panose="020F0302020204030204" pitchFamily="34" charset="0"/>
              </a:rPr>
              <a:t>Model Performance</a:t>
            </a:r>
            <a:endParaRPr lang="en-US" kern="1200">
              <a:latin typeface="+mn-lt"/>
              <a:ea typeface="+mj-ea"/>
              <a:cs typeface="Calibri Light" panose="020F030202020403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5CD9AAA-9E46-9CBA-73CD-00646188FE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47951" y="1029328"/>
            <a:ext cx="10686643" cy="56886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8E95FEC-599D-A34A-6574-FD099CC329AE}"/>
              </a:ext>
            </a:extLst>
          </p:cNvPr>
          <p:cNvSpPr txBox="1"/>
          <p:nvPr/>
        </p:nvSpPr>
        <p:spPr>
          <a:xfrm>
            <a:off x="3223133" y="6119346"/>
            <a:ext cx="13062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>
                <a:solidFill>
                  <a:srgbClr val="313131"/>
                </a:solidFill>
              </a:rPr>
              <a:t>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246784-5D6C-3A04-9F97-54D9AFB2D6B1}"/>
              </a:ext>
            </a:extLst>
          </p:cNvPr>
          <p:cNvSpPr txBox="1"/>
          <p:nvPr/>
        </p:nvSpPr>
        <p:spPr>
          <a:xfrm>
            <a:off x="7832283" y="564195"/>
            <a:ext cx="42671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>
                <a:solidFill>
                  <a:srgbClr val="313131"/>
                </a:solidFill>
              </a:rPr>
              <a:t>* Starts at 0.94; ticks represent 0.01 change </a:t>
            </a:r>
          </a:p>
        </p:txBody>
      </p:sp>
    </p:spTree>
    <p:extLst>
      <p:ext uri="{BB962C8B-B14F-4D97-AF65-F5344CB8AC3E}">
        <p14:creationId xmlns:p14="http://schemas.microsoft.com/office/powerpoint/2010/main" val="406668908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28124E-124D-26AD-9E98-AED6DDAE87DE}"/>
              </a:ext>
            </a:extLst>
          </p:cNvPr>
          <p:cNvSpPr txBox="1">
            <a:spLocks/>
          </p:cNvSpPr>
          <p:nvPr/>
        </p:nvSpPr>
        <p:spPr>
          <a:xfrm>
            <a:off x="496284" y="719038"/>
            <a:ext cx="11188700" cy="334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575757"/>
                </a:solidFill>
              </a:rPr>
              <a:t>Holdout set a</a:t>
            </a:r>
            <a:r>
              <a:rPr lang="en-US"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rPr>
              <a:t>ccuracy after </a:t>
            </a:r>
            <a:r>
              <a:rPr lang="en-US" sz="1800">
                <a:solidFill>
                  <a:srgbClr val="575757"/>
                </a:solidFill>
              </a:rPr>
              <a:t>t</a:t>
            </a:r>
            <a:r>
              <a:rPr lang="en-US"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rPr>
              <a:t>uning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18FBA9E-462E-CD53-2D5F-C9722D6BB109}"/>
              </a:ext>
            </a:extLst>
          </p:cNvPr>
          <p:cNvSpPr txBox="1">
            <a:spLocks/>
          </p:cNvSpPr>
          <p:nvPr/>
        </p:nvSpPr>
        <p:spPr bwMode="gray">
          <a:xfrm>
            <a:off x="485133" y="43897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altLang="ja-JP" kern="1200">
                <a:latin typeface="+mn-lt"/>
                <a:ea typeface="+mj-ea"/>
                <a:cs typeface="Calibri Light" panose="020F0302020204030204" pitchFamily="34" charset="0"/>
              </a:rPr>
              <a:t>Model Performance</a:t>
            </a:r>
            <a:endParaRPr lang="en-US" kern="1200">
              <a:latin typeface="+mn-lt"/>
              <a:ea typeface="+mj-ea"/>
              <a:cs typeface="Calibri Light" panose="020F030202020403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5CD9AAA-9E46-9CBA-73CD-00646188FE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67385" y="1029328"/>
            <a:ext cx="10572727" cy="56886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8E95FEC-599D-A34A-6574-FD099CC329AE}"/>
              </a:ext>
            </a:extLst>
          </p:cNvPr>
          <p:cNvSpPr txBox="1"/>
          <p:nvPr/>
        </p:nvSpPr>
        <p:spPr>
          <a:xfrm>
            <a:off x="3234708" y="6119346"/>
            <a:ext cx="13062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>
                <a:solidFill>
                  <a:srgbClr val="313131"/>
                </a:solidFill>
              </a:rPr>
              <a:t>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246784-5D6C-3A04-9F97-54D9AFB2D6B1}"/>
              </a:ext>
            </a:extLst>
          </p:cNvPr>
          <p:cNvSpPr txBox="1"/>
          <p:nvPr/>
        </p:nvSpPr>
        <p:spPr>
          <a:xfrm>
            <a:off x="7847983" y="566928"/>
            <a:ext cx="42671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>
                <a:solidFill>
                  <a:srgbClr val="313131"/>
                </a:solidFill>
              </a:rPr>
              <a:t>* Starts at 0.94; ticks represent 0.01 change </a:t>
            </a:r>
          </a:p>
        </p:txBody>
      </p:sp>
    </p:spTree>
    <p:extLst>
      <p:ext uri="{BB962C8B-B14F-4D97-AF65-F5344CB8AC3E}">
        <p14:creationId xmlns:p14="http://schemas.microsoft.com/office/powerpoint/2010/main" val="41441301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28124E-124D-26AD-9E98-AED6DDAE87DE}"/>
              </a:ext>
            </a:extLst>
          </p:cNvPr>
          <p:cNvSpPr txBox="1">
            <a:spLocks/>
          </p:cNvSpPr>
          <p:nvPr/>
        </p:nvSpPr>
        <p:spPr>
          <a:xfrm>
            <a:off x="496284" y="719038"/>
            <a:ext cx="11188700" cy="334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575757"/>
                </a:solidFill>
              </a:rPr>
              <a:t>Confusion matrix</a:t>
            </a:r>
            <a:endParaRPr lang="en-US" sz="1800" b="0" kern="1200">
              <a:solidFill>
                <a:srgbClr val="575757"/>
              </a:solidFill>
              <a:latin typeface="+mn-l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18FBA9E-462E-CD53-2D5F-C9722D6BB109}"/>
              </a:ext>
            </a:extLst>
          </p:cNvPr>
          <p:cNvSpPr txBox="1">
            <a:spLocks/>
          </p:cNvSpPr>
          <p:nvPr/>
        </p:nvSpPr>
        <p:spPr bwMode="gray">
          <a:xfrm>
            <a:off x="485133" y="427396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altLang="ja-JP" kern="1200">
                <a:latin typeface="+mn-lt"/>
                <a:ea typeface="+mj-ea"/>
                <a:cs typeface="Calibri Light" panose="020F0302020204030204" pitchFamily="34" charset="0"/>
              </a:rPr>
              <a:t>Model Performance</a:t>
            </a:r>
            <a:endParaRPr lang="en-US" kern="1200">
              <a:latin typeface="+mn-lt"/>
              <a:ea typeface="+mj-ea"/>
              <a:cs typeface="Calibri Light" panose="020F030202020403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234CC5-C13C-E0B5-5222-E2F0625A84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660038" y="1344780"/>
            <a:ext cx="2800744" cy="347472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212B351-00B7-281E-99B9-39CF1D0396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51741" y="1344780"/>
            <a:ext cx="3602026" cy="347472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C2B593B3-952D-F877-329C-7733998B01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85133" y="1344780"/>
            <a:ext cx="3983945" cy="3474720"/>
          </a:xfrm>
          <a:prstGeom prst="rect">
            <a:avLst/>
          </a:prstGeom>
        </p:spPr>
      </p:pic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8F907E5C-33DF-7034-1980-74C323AD91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908749"/>
              </p:ext>
            </p:extLst>
          </p:nvPr>
        </p:nvGraphicFramePr>
        <p:xfrm>
          <a:off x="2081477" y="5142380"/>
          <a:ext cx="2306918" cy="741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53459">
                  <a:extLst>
                    <a:ext uri="{9D8B030D-6E8A-4147-A177-3AD203B41FA5}">
                      <a16:colId xmlns:a16="http://schemas.microsoft.com/office/drawing/2014/main" val="3866166069"/>
                    </a:ext>
                  </a:extLst>
                </a:gridCol>
                <a:gridCol w="1153459">
                  <a:extLst>
                    <a:ext uri="{9D8B030D-6E8A-4147-A177-3AD203B41FA5}">
                      <a16:colId xmlns:a16="http://schemas.microsoft.com/office/drawing/2014/main" val="39499510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Precision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0.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296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Recall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0.8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100447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CA4B41B9-3CF8-8AF2-F61D-95BA1ED4B3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196881"/>
              </p:ext>
            </p:extLst>
          </p:nvPr>
        </p:nvGraphicFramePr>
        <p:xfrm>
          <a:off x="5091109" y="5142380"/>
          <a:ext cx="2306918" cy="741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53459">
                  <a:extLst>
                    <a:ext uri="{9D8B030D-6E8A-4147-A177-3AD203B41FA5}">
                      <a16:colId xmlns:a16="http://schemas.microsoft.com/office/drawing/2014/main" val="3866166069"/>
                    </a:ext>
                  </a:extLst>
                </a:gridCol>
                <a:gridCol w="1153459">
                  <a:extLst>
                    <a:ext uri="{9D8B030D-6E8A-4147-A177-3AD203B41FA5}">
                      <a16:colId xmlns:a16="http://schemas.microsoft.com/office/drawing/2014/main" val="39499510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Precision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0.8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296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Recall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0.8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100447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EBE1E0B-A0B3-231E-42BA-CA194E0390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643963"/>
              </p:ext>
            </p:extLst>
          </p:nvPr>
        </p:nvGraphicFramePr>
        <p:xfrm>
          <a:off x="8100741" y="5142380"/>
          <a:ext cx="2306918" cy="741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53459">
                  <a:extLst>
                    <a:ext uri="{9D8B030D-6E8A-4147-A177-3AD203B41FA5}">
                      <a16:colId xmlns:a16="http://schemas.microsoft.com/office/drawing/2014/main" val="3866166069"/>
                    </a:ext>
                  </a:extLst>
                </a:gridCol>
                <a:gridCol w="1153459">
                  <a:extLst>
                    <a:ext uri="{9D8B030D-6E8A-4147-A177-3AD203B41FA5}">
                      <a16:colId xmlns:a16="http://schemas.microsoft.com/office/drawing/2014/main" val="39499510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Precision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0.8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296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Recall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0.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1004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23722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圆角矩形 104"/>
          <p:cNvSpPr/>
          <p:nvPr/>
        </p:nvSpPr>
        <p:spPr bwMode="gray">
          <a:xfrm>
            <a:off x="8684542" y="1714500"/>
            <a:ext cx="3050258" cy="3238999"/>
          </a:xfrm>
          <a:prstGeom prst="roundRect">
            <a:avLst>
              <a:gd name="adj" fmla="val 9351"/>
            </a:avLst>
          </a:prstGeom>
          <a:noFill/>
          <a:ln w="19050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square" lIns="88900" tIns="936000" rIns="88900" bIns="88900" rtlCol="0" anchor="t"/>
          <a:lstStyle/>
          <a:p>
            <a:endParaRPr lang="pt-BR" sz="1300"/>
          </a:p>
        </p:txBody>
      </p:sp>
      <p:sp>
        <p:nvSpPr>
          <p:cNvPr id="11" name="Rounded Rectangle 136"/>
          <p:cNvSpPr/>
          <p:nvPr/>
        </p:nvSpPr>
        <p:spPr>
          <a:xfrm>
            <a:off x="457200" y="5292655"/>
            <a:ext cx="3050258" cy="286748"/>
          </a:xfrm>
          <a:prstGeom prst="roundRect">
            <a:avLst>
              <a:gd name="adj" fmla="val 50000"/>
            </a:avLst>
          </a:prstGeom>
          <a:solidFill>
            <a:schemeClr val="accent2">
              <a:lumMod val="50000"/>
            </a:scheme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>
                <a:solidFill>
                  <a:schemeClr val="bg1"/>
                </a:solidFill>
              </a:rPr>
              <a:t>Current Status</a:t>
            </a:r>
          </a:p>
        </p:txBody>
      </p:sp>
      <p:sp>
        <p:nvSpPr>
          <p:cNvPr id="55" name="等腰三角形 54"/>
          <p:cNvSpPr/>
          <p:nvPr/>
        </p:nvSpPr>
        <p:spPr bwMode="gray">
          <a:xfrm flipV="1">
            <a:off x="1685591" y="4957234"/>
            <a:ext cx="593477" cy="203133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9050" algn="ctr">
            <a:solidFill>
              <a:schemeClr val="accent3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300" b="1">
              <a:solidFill>
                <a:schemeClr val="bg1"/>
              </a:solidFill>
            </a:endParaRPr>
          </a:p>
        </p:txBody>
      </p:sp>
      <p:sp>
        <p:nvSpPr>
          <p:cNvPr id="2" name="圆角矩形 1"/>
          <p:cNvSpPr/>
          <p:nvPr/>
        </p:nvSpPr>
        <p:spPr bwMode="gray">
          <a:xfrm>
            <a:off x="457200" y="1732203"/>
            <a:ext cx="3050258" cy="3238999"/>
          </a:xfrm>
          <a:prstGeom prst="roundRect">
            <a:avLst>
              <a:gd name="adj" fmla="val 9351"/>
            </a:avLst>
          </a:prstGeom>
          <a:solidFill>
            <a:srgbClr val="FFFFFF"/>
          </a:solidFill>
          <a:ln w="19050" algn="ctr">
            <a:solidFill>
              <a:schemeClr val="accent3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88900" tIns="936000" rIns="88900" bIns="88900" rtlCol="0" anchor="t"/>
          <a:lstStyle/>
          <a:p>
            <a:endParaRPr lang="pt-BR" sz="1300"/>
          </a:p>
          <a:p>
            <a:endParaRPr lang="pt-BR" sz="13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300"/>
          </a:p>
        </p:txBody>
      </p:sp>
      <p:sp>
        <p:nvSpPr>
          <p:cNvPr id="95" name="Rounded Rectangle 136"/>
          <p:cNvSpPr/>
          <p:nvPr/>
        </p:nvSpPr>
        <p:spPr>
          <a:xfrm>
            <a:off x="8684542" y="5288920"/>
            <a:ext cx="3050258" cy="28674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>
                <a:solidFill>
                  <a:schemeClr val="bg1"/>
                </a:solidFill>
              </a:rPr>
              <a:t>Result</a:t>
            </a:r>
          </a:p>
        </p:txBody>
      </p:sp>
      <p:sp>
        <p:nvSpPr>
          <p:cNvPr id="97" name="等腰三角形 96"/>
          <p:cNvSpPr/>
          <p:nvPr/>
        </p:nvSpPr>
        <p:spPr bwMode="gray">
          <a:xfrm flipV="1">
            <a:off x="9912933" y="4953499"/>
            <a:ext cx="593477" cy="203133"/>
          </a:xfrm>
          <a:prstGeom prst="triangle">
            <a:avLst/>
          </a:prstGeom>
          <a:solidFill>
            <a:schemeClr val="accent1"/>
          </a:solidFill>
          <a:ln w="12700">
            <a:solidFill>
              <a:schemeClr val="accent1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b="1">
              <a:solidFill>
                <a:schemeClr val="bg1"/>
              </a:solidFill>
            </a:endParaRPr>
          </a:p>
        </p:txBody>
      </p:sp>
      <p:sp>
        <p:nvSpPr>
          <p:cNvPr id="104" name="圆角矩形 103"/>
          <p:cNvSpPr/>
          <p:nvPr/>
        </p:nvSpPr>
        <p:spPr bwMode="gray">
          <a:xfrm>
            <a:off x="4570871" y="1728467"/>
            <a:ext cx="3050258" cy="3238999"/>
          </a:xfrm>
          <a:prstGeom prst="roundRect">
            <a:avLst>
              <a:gd name="adj" fmla="val 9351"/>
            </a:avLst>
          </a:prstGeom>
          <a:noFill/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8900" tIns="936000" rIns="88900" bIns="88900" rtlCol="0" anchor="t"/>
          <a:lstStyle/>
          <a:p>
            <a:endParaRPr lang="pt-BR" sz="1300"/>
          </a:p>
        </p:txBody>
      </p:sp>
      <p:sp>
        <p:nvSpPr>
          <p:cNvPr id="58" name="Rounded Rectangle 136"/>
          <p:cNvSpPr/>
          <p:nvPr/>
        </p:nvSpPr>
        <p:spPr>
          <a:xfrm>
            <a:off x="4570871" y="5292655"/>
            <a:ext cx="3050258" cy="286748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>
                <a:solidFill>
                  <a:schemeClr val="bg1"/>
                </a:solidFill>
              </a:rPr>
              <a:t>Random Forest Model</a:t>
            </a:r>
          </a:p>
        </p:txBody>
      </p:sp>
      <p:sp>
        <p:nvSpPr>
          <p:cNvPr id="60" name="等腰三角形 59"/>
          <p:cNvSpPr/>
          <p:nvPr/>
        </p:nvSpPr>
        <p:spPr bwMode="gray">
          <a:xfrm flipV="1">
            <a:off x="5799261" y="4957234"/>
            <a:ext cx="593477" cy="203133"/>
          </a:xfrm>
          <a:prstGeom prst="triangle">
            <a:avLst/>
          </a:prstGeom>
          <a:solidFill>
            <a:schemeClr val="accent3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300" b="1">
              <a:solidFill>
                <a:schemeClr val="bg1"/>
              </a:solidFill>
            </a:endParaRPr>
          </a:p>
        </p:txBody>
      </p:sp>
      <p:grpSp>
        <p:nvGrpSpPr>
          <p:cNvPr id="3" name="General_Border_96">
            <a:extLst>
              <a:ext uri="{FF2B5EF4-FFF2-40B4-BE49-F238E27FC236}">
                <a16:creationId xmlns:a16="http://schemas.microsoft.com/office/drawing/2014/main" id="{75EABD34-F2D4-CE8D-4ED8-7DDB4D8BFA4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85591" y="1894530"/>
            <a:ext cx="635000" cy="635000"/>
            <a:chOff x="5850" y="1203"/>
            <a:chExt cx="340" cy="340"/>
          </a:xfrm>
          <a:solidFill>
            <a:schemeClr val="accent4"/>
          </a:solidFill>
        </p:grpSpPr>
        <p:sp>
          <p:nvSpPr>
            <p:cNvPr id="4" name="Freeform 319">
              <a:extLst>
                <a:ext uri="{FF2B5EF4-FFF2-40B4-BE49-F238E27FC236}">
                  <a16:creationId xmlns:a16="http://schemas.microsoft.com/office/drawing/2014/main" id="{F4FAC4C5-898F-F8F3-7D80-01FF83879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0" y="12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pattFill>
              <a:fgClr>
                <a:schemeClr val="accent4"/>
              </a:fgClr>
              <a:bgClr>
                <a:schemeClr val="accent4"/>
              </a:bgClr>
            </a:pattFill>
            <a:ln>
              <a:solidFill>
                <a:schemeClr val="accent2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" name="Freeform 320">
              <a:extLst>
                <a:ext uri="{FF2B5EF4-FFF2-40B4-BE49-F238E27FC236}">
                  <a16:creationId xmlns:a16="http://schemas.microsoft.com/office/drawing/2014/main" id="{3DF00CA2-F60E-72E0-3092-4DBB6F39E0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8" y="1265"/>
              <a:ext cx="137" cy="207"/>
            </a:xfrm>
            <a:custGeom>
              <a:avLst/>
              <a:gdLst>
                <a:gd name="T0" fmla="*/ 199 w 207"/>
                <a:gd name="T1" fmla="*/ 40 h 311"/>
                <a:gd name="T2" fmla="*/ 99 w 207"/>
                <a:gd name="T3" fmla="*/ 2 h 311"/>
                <a:gd name="T4" fmla="*/ 85 w 207"/>
                <a:gd name="T5" fmla="*/ 8 h 311"/>
                <a:gd name="T6" fmla="*/ 78 w 207"/>
                <a:gd name="T7" fmla="*/ 28 h 311"/>
                <a:gd name="T8" fmla="*/ 78 w 207"/>
                <a:gd name="T9" fmla="*/ 37 h 311"/>
                <a:gd name="T10" fmla="*/ 82 w 207"/>
                <a:gd name="T11" fmla="*/ 46 h 311"/>
                <a:gd name="T12" fmla="*/ 52 w 207"/>
                <a:gd name="T13" fmla="*/ 125 h 311"/>
                <a:gd name="T14" fmla="*/ 26 w 207"/>
                <a:gd name="T15" fmla="*/ 124 h 311"/>
                <a:gd name="T16" fmla="*/ 16 w 207"/>
                <a:gd name="T17" fmla="*/ 130 h 311"/>
                <a:gd name="T18" fmla="*/ 1 w 207"/>
                <a:gd name="T19" fmla="*/ 170 h 311"/>
                <a:gd name="T20" fmla="*/ 1 w 207"/>
                <a:gd name="T21" fmla="*/ 178 h 311"/>
                <a:gd name="T22" fmla="*/ 7 w 207"/>
                <a:gd name="T23" fmla="*/ 184 h 311"/>
                <a:gd name="T24" fmla="*/ 67 w 207"/>
                <a:gd name="T25" fmla="*/ 207 h 311"/>
                <a:gd name="T26" fmla="*/ 32 w 207"/>
                <a:gd name="T27" fmla="*/ 297 h 311"/>
                <a:gd name="T28" fmla="*/ 38 w 207"/>
                <a:gd name="T29" fmla="*/ 310 h 311"/>
                <a:gd name="T30" fmla="*/ 42 w 207"/>
                <a:gd name="T31" fmla="*/ 311 h 311"/>
                <a:gd name="T32" fmla="*/ 52 w 207"/>
                <a:gd name="T33" fmla="*/ 304 h 311"/>
                <a:gd name="T34" fmla="*/ 86 w 207"/>
                <a:gd name="T35" fmla="*/ 214 h 311"/>
                <a:gd name="T36" fmla="*/ 146 w 207"/>
                <a:gd name="T37" fmla="*/ 237 h 311"/>
                <a:gd name="T38" fmla="*/ 150 w 207"/>
                <a:gd name="T39" fmla="*/ 238 h 311"/>
                <a:gd name="T40" fmla="*/ 160 w 207"/>
                <a:gd name="T41" fmla="*/ 231 h 311"/>
                <a:gd name="T42" fmla="*/ 175 w 207"/>
                <a:gd name="T43" fmla="*/ 191 h 311"/>
                <a:gd name="T44" fmla="*/ 172 w 207"/>
                <a:gd name="T45" fmla="*/ 179 h 311"/>
                <a:gd name="T46" fmla="*/ 152 w 207"/>
                <a:gd name="T47" fmla="*/ 163 h 311"/>
                <a:gd name="T48" fmla="*/ 182 w 207"/>
                <a:gd name="T49" fmla="*/ 84 h 311"/>
                <a:gd name="T50" fmla="*/ 192 w 207"/>
                <a:gd name="T51" fmla="*/ 80 h 311"/>
                <a:gd name="T52" fmla="*/ 197 w 207"/>
                <a:gd name="T53" fmla="*/ 74 h 311"/>
                <a:gd name="T54" fmla="*/ 205 w 207"/>
                <a:gd name="T55" fmla="*/ 54 h 311"/>
                <a:gd name="T56" fmla="*/ 199 w 207"/>
                <a:gd name="T57" fmla="*/ 40 h 311"/>
                <a:gd name="T58" fmla="*/ 179 w 207"/>
                <a:gd name="T59" fmla="*/ 62 h 311"/>
                <a:gd name="T60" fmla="*/ 169 w 207"/>
                <a:gd name="T61" fmla="*/ 67 h 311"/>
                <a:gd name="T62" fmla="*/ 164 w 207"/>
                <a:gd name="T63" fmla="*/ 73 h 311"/>
                <a:gd name="T64" fmla="*/ 129 w 207"/>
                <a:gd name="T65" fmla="*/ 162 h 311"/>
                <a:gd name="T66" fmla="*/ 132 w 207"/>
                <a:gd name="T67" fmla="*/ 174 h 311"/>
                <a:gd name="T68" fmla="*/ 153 w 207"/>
                <a:gd name="T69" fmla="*/ 191 h 311"/>
                <a:gd name="T70" fmla="*/ 144 w 207"/>
                <a:gd name="T71" fmla="*/ 214 h 311"/>
                <a:gd name="T72" fmla="*/ 24 w 207"/>
                <a:gd name="T73" fmla="*/ 168 h 311"/>
                <a:gd name="T74" fmla="*/ 33 w 207"/>
                <a:gd name="T75" fmla="*/ 145 h 311"/>
                <a:gd name="T76" fmla="*/ 59 w 207"/>
                <a:gd name="T77" fmla="*/ 146 h 311"/>
                <a:gd name="T78" fmla="*/ 70 w 207"/>
                <a:gd name="T79" fmla="*/ 139 h 311"/>
                <a:gd name="T80" fmla="*/ 104 w 207"/>
                <a:gd name="T81" fmla="*/ 50 h 311"/>
                <a:gd name="T82" fmla="*/ 104 w 207"/>
                <a:gd name="T83" fmla="*/ 42 h 311"/>
                <a:gd name="T84" fmla="*/ 99 w 207"/>
                <a:gd name="T85" fmla="*/ 32 h 311"/>
                <a:gd name="T86" fmla="*/ 102 w 207"/>
                <a:gd name="T87" fmla="*/ 26 h 311"/>
                <a:gd name="T88" fmla="*/ 181 w 207"/>
                <a:gd name="T89" fmla="*/ 57 h 311"/>
                <a:gd name="T90" fmla="*/ 179 w 207"/>
                <a:gd name="T91" fmla="*/ 6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7" h="311">
                  <a:moveTo>
                    <a:pt x="199" y="40"/>
                  </a:moveTo>
                  <a:cubicBezTo>
                    <a:pt x="99" y="2"/>
                    <a:pt x="99" y="2"/>
                    <a:pt x="99" y="2"/>
                  </a:cubicBezTo>
                  <a:cubicBezTo>
                    <a:pt x="94" y="0"/>
                    <a:pt x="88" y="3"/>
                    <a:pt x="85" y="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7" y="31"/>
                    <a:pt x="77" y="34"/>
                    <a:pt x="78" y="37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26" y="124"/>
                    <a:pt x="26" y="124"/>
                    <a:pt x="26" y="124"/>
                  </a:cubicBezTo>
                  <a:cubicBezTo>
                    <a:pt x="22" y="123"/>
                    <a:pt x="18" y="126"/>
                    <a:pt x="16" y="130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0" y="173"/>
                    <a:pt x="0" y="176"/>
                    <a:pt x="1" y="178"/>
                  </a:cubicBezTo>
                  <a:cubicBezTo>
                    <a:pt x="2" y="181"/>
                    <a:pt x="4" y="183"/>
                    <a:pt x="7" y="184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32" y="297"/>
                    <a:pt x="32" y="297"/>
                    <a:pt x="32" y="297"/>
                  </a:cubicBezTo>
                  <a:cubicBezTo>
                    <a:pt x="30" y="302"/>
                    <a:pt x="33" y="308"/>
                    <a:pt x="38" y="310"/>
                  </a:cubicBezTo>
                  <a:cubicBezTo>
                    <a:pt x="40" y="311"/>
                    <a:pt x="41" y="311"/>
                    <a:pt x="42" y="311"/>
                  </a:cubicBezTo>
                  <a:cubicBezTo>
                    <a:pt x="46" y="311"/>
                    <a:pt x="50" y="308"/>
                    <a:pt x="52" y="304"/>
                  </a:cubicBezTo>
                  <a:cubicBezTo>
                    <a:pt x="86" y="214"/>
                    <a:pt x="86" y="214"/>
                    <a:pt x="86" y="214"/>
                  </a:cubicBezTo>
                  <a:cubicBezTo>
                    <a:pt x="146" y="237"/>
                    <a:pt x="146" y="237"/>
                    <a:pt x="146" y="237"/>
                  </a:cubicBezTo>
                  <a:cubicBezTo>
                    <a:pt x="147" y="238"/>
                    <a:pt x="149" y="238"/>
                    <a:pt x="150" y="238"/>
                  </a:cubicBezTo>
                  <a:cubicBezTo>
                    <a:pt x="154" y="238"/>
                    <a:pt x="158" y="235"/>
                    <a:pt x="160" y="231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7" y="187"/>
                    <a:pt x="176" y="182"/>
                    <a:pt x="172" y="179"/>
                  </a:cubicBezTo>
                  <a:cubicBezTo>
                    <a:pt x="152" y="163"/>
                    <a:pt x="152" y="163"/>
                    <a:pt x="152" y="163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194" y="79"/>
                    <a:pt x="196" y="77"/>
                    <a:pt x="197" y="74"/>
                  </a:cubicBezTo>
                  <a:cubicBezTo>
                    <a:pt x="205" y="54"/>
                    <a:pt x="205" y="54"/>
                    <a:pt x="205" y="54"/>
                  </a:cubicBezTo>
                  <a:cubicBezTo>
                    <a:pt x="207" y="49"/>
                    <a:pt x="204" y="43"/>
                    <a:pt x="199" y="40"/>
                  </a:cubicBezTo>
                  <a:close/>
                  <a:moveTo>
                    <a:pt x="179" y="62"/>
                  </a:moveTo>
                  <a:cubicBezTo>
                    <a:pt x="169" y="67"/>
                    <a:pt x="169" y="67"/>
                    <a:pt x="169" y="67"/>
                  </a:cubicBezTo>
                  <a:cubicBezTo>
                    <a:pt x="167" y="68"/>
                    <a:pt x="165" y="70"/>
                    <a:pt x="164" y="7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8" y="167"/>
                    <a:pt x="129" y="172"/>
                    <a:pt x="132" y="174"/>
                  </a:cubicBezTo>
                  <a:cubicBezTo>
                    <a:pt x="153" y="191"/>
                    <a:pt x="153" y="191"/>
                    <a:pt x="153" y="191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24" y="168"/>
                    <a:pt x="24" y="168"/>
                    <a:pt x="24" y="16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59" y="146"/>
                    <a:pt x="59" y="146"/>
                    <a:pt x="59" y="146"/>
                  </a:cubicBezTo>
                  <a:cubicBezTo>
                    <a:pt x="64" y="147"/>
                    <a:pt x="68" y="144"/>
                    <a:pt x="70" y="139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5" y="47"/>
                    <a:pt x="105" y="44"/>
                    <a:pt x="104" y="4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81" y="57"/>
                    <a:pt x="181" y="57"/>
                    <a:pt x="181" y="57"/>
                  </a:cubicBezTo>
                  <a:lnTo>
                    <a:pt x="179" y="62"/>
                  </a:lnTo>
                  <a:close/>
                </a:path>
              </a:pathLst>
            </a:custGeom>
            <a:pattFill>
              <a:fgClr>
                <a:schemeClr val="accent4"/>
              </a:fgClr>
              <a:bgClr>
                <a:schemeClr val="accent4"/>
              </a:bgClr>
            </a:pattFill>
            <a:ln>
              <a:solidFill>
                <a:schemeClr val="accent2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6" name="General_Border_7">
            <a:extLst>
              <a:ext uri="{FF2B5EF4-FFF2-40B4-BE49-F238E27FC236}">
                <a16:creationId xmlns:a16="http://schemas.microsoft.com/office/drawing/2014/main" id="{38D9F352-2BA9-E7E5-C1EB-C69E452185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0746" y="1821161"/>
            <a:ext cx="635000" cy="635000"/>
            <a:chOff x="5813" y="3162"/>
            <a:chExt cx="340" cy="340"/>
          </a:xfrm>
          <a:solidFill>
            <a:schemeClr val="accent3"/>
          </a:solidFill>
        </p:grpSpPr>
        <p:sp>
          <p:nvSpPr>
            <p:cNvPr id="7" name="Freeform 862">
              <a:extLst>
                <a:ext uri="{FF2B5EF4-FFF2-40B4-BE49-F238E27FC236}">
                  <a16:creationId xmlns:a16="http://schemas.microsoft.com/office/drawing/2014/main" id="{81AE6C28-4D48-599D-E968-F314FCC23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3" y="316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pattFill>
              <a:fgClr>
                <a:schemeClr val="accent4"/>
              </a:fgClr>
              <a:bgClr>
                <a:schemeClr val="accent4"/>
              </a:bgClr>
            </a:pattFill>
            <a:ln>
              <a:solidFill>
                <a:schemeClr val="accent3">
                  <a:lumMod val="75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8" name="Freeform 863">
              <a:extLst>
                <a:ext uri="{FF2B5EF4-FFF2-40B4-BE49-F238E27FC236}">
                  <a16:creationId xmlns:a16="http://schemas.microsoft.com/office/drawing/2014/main" id="{CF650B0F-A89C-04F4-F3C1-810B20024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5" y="3216"/>
              <a:ext cx="156" cy="208"/>
            </a:xfrm>
            <a:custGeom>
              <a:avLst/>
              <a:gdLst>
                <a:gd name="T0" fmla="*/ 11 w 235"/>
                <a:gd name="T1" fmla="*/ 313 h 313"/>
                <a:gd name="T2" fmla="*/ 0 w 235"/>
                <a:gd name="T3" fmla="*/ 303 h 313"/>
                <a:gd name="T4" fmla="*/ 0 w 235"/>
                <a:gd name="T5" fmla="*/ 47 h 313"/>
                <a:gd name="T6" fmla="*/ 5 w 235"/>
                <a:gd name="T7" fmla="*/ 38 h 313"/>
                <a:gd name="T8" fmla="*/ 125 w 235"/>
                <a:gd name="T9" fmla="*/ 39 h 313"/>
                <a:gd name="T10" fmla="*/ 218 w 235"/>
                <a:gd name="T11" fmla="*/ 38 h 313"/>
                <a:gd name="T12" fmla="*/ 229 w 235"/>
                <a:gd name="T13" fmla="*/ 37 h 313"/>
                <a:gd name="T14" fmla="*/ 235 w 235"/>
                <a:gd name="T15" fmla="*/ 47 h 313"/>
                <a:gd name="T16" fmla="*/ 235 w 235"/>
                <a:gd name="T17" fmla="*/ 185 h 313"/>
                <a:gd name="T18" fmla="*/ 230 w 235"/>
                <a:gd name="T19" fmla="*/ 194 h 313"/>
                <a:gd name="T20" fmla="*/ 110 w 235"/>
                <a:gd name="T21" fmla="*/ 193 h 313"/>
                <a:gd name="T22" fmla="*/ 22 w 235"/>
                <a:gd name="T23" fmla="*/ 191 h 313"/>
                <a:gd name="T24" fmla="*/ 22 w 235"/>
                <a:gd name="T25" fmla="*/ 303 h 313"/>
                <a:gd name="T26" fmla="*/ 11 w 235"/>
                <a:gd name="T27" fmla="*/ 313 h 313"/>
                <a:gd name="T28" fmla="*/ 70 w 235"/>
                <a:gd name="T29" fmla="*/ 155 h 313"/>
                <a:gd name="T30" fmla="*/ 125 w 235"/>
                <a:gd name="T31" fmla="*/ 178 h 313"/>
                <a:gd name="T32" fmla="*/ 214 w 235"/>
                <a:gd name="T33" fmla="*/ 179 h 313"/>
                <a:gd name="T34" fmla="*/ 214 w 235"/>
                <a:gd name="T35" fmla="*/ 65 h 313"/>
                <a:gd name="T36" fmla="*/ 110 w 235"/>
                <a:gd name="T37" fmla="*/ 54 h 313"/>
                <a:gd name="T38" fmla="*/ 22 w 235"/>
                <a:gd name="T39" fmla="*/ 53 h 313"/>
                <a:gd name="T40" fmla="*/ 22 w 235"/>
                <a:gd name="T41" fmla="*/ 167 h 313"/>
                <a:gd name="T42" fmla="*/ 70 w 235"/>
                <a:gd name="T43" fmla="*/ 15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313">
                  <a:moveTo>
                    <a:pt x="11" y="313"/>
                  </a:moveTo>
                  <a:cubicBezTo>
                    <a:pt x="5" y="313"/>
                    <a:pt x="0" y="309"/>
                    <a:pt x="0" y="30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3"/>
                    <a:pt x="2" y="40"/>
                    <a:pt x="5" y="38"/>
                  </a:cubicBezTo>
                  <a:cubicBezTo>
                    <a:pt x="29" y="21"/>
                    <a:pt x="86" y="0"/>
                    <a:pt x="125" y="39"/>
                  </a:cubicBezTo>
                  <a:cubicBezTo>
                    <a:pt x="161" y="75"/>
                    <a:pt x="218" y="38"/>
                    <a:pt x="218" y="38"/>
                  </a:cubicBezTo>
                  <a:cubicBezTo>
                    <a:pt x="222" y="36"/>
                    <a:pt x="226" y="35"/>
                    <a:pt x="229" y="37"/>
                  </a:cubicBezTo>
                  <a:cubicBezTo>
                    <a:pt x="233" y="39"/>
                    <a:pt x="235" y="43"/>
                    <a:pt x="235" y="47"/>
                  </a:cubicBezTo>
                  <a:cubicBezTo>
                    <a:pt x="235" y="185"/>
                    <a:pt x="235" y="185"/>
                    <a:pt x="235" y="185"/>
                  </a:cubicBezTo>
                  <a:cubicBezTo>
                    <a:pt x="235" y="189"/>
                    <a:pt x="233" y="192"/>
                    <a:pt x="230" y="194"/>
                  </a:cubicBezTo>
                  <a:cubicBezTo>
                    <a:pt x="205" y="211"/>
                    <a:pt x="148" y="231"/>
                    <a:pt x="110" y="193"/>
                  </a:cubicBezTo>
                  <a:cubicBezTo>
                    <a:pt x="79" y="162"/>
                    <a:pt x="36" y="183"/>
                    <a:pt x="22" y="191"/>
                  </a:cubicBezTo>
                  <a:cubicBezTo>
                    <a:pt x="22" y="303"/>
                    <a:pt x="22" y="303"/>
                    <a:pt x="22" y="303"/>
                  </a:cubicBezTo>
                  <a:cubicBezTo>
                    <a:pt x="22" y="309"/>
                    <a:pt x="17" y="313"/>
                    <a:pt x="11" y="313"/>
                  </a:cubicBezTo>
                  <a:close/>
                  <a:moveTo>
                    <a:pt x="70" y="155"/>
                  </a:moveTo>
                  <a:cubicBezTo>
                    <a:pt x="89" y="155"/>
                    <a:pt x="109" y="161"/>
                    <a:pt x="125" y="178"/>
                  </a:cubicBezTo>
                  <a:cubicBezTo>
                    <a:pt x="155" y="207"/>
                    <a:pt x="199" y="187"/>
                    <a:pt x="214" y="179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185" y="78"/>
                    <a:pt x="142" y="86"/>
                    <a:pt x="110" y="54"/>
                  </a:cubicBezTo>
                  <a:cubicBezTo>
                    <a:pt x="80" y="24"/>
                    <a:pt x="36" y="45"/>
                    <a:pt x="22" y="53"/>
                  </a:cubicBezTo>
                  <a:cubicBezTo>
                    <a:pt x="22" y="167"/>
                    <a:pt x="22" y="167"/>
                    <a:pt x="22" y="167"/>
                  </a:cubicBezTo>
                  <a:cubicBezTo>
                    <a:pt x="35" y="161"/>
                    <a:pt x="53" y="155"/>
                    <a:pt x="70" y="155"/>
                  </a:cubicBezTo>
                  <a:close/>
                </a:path>
              </a:pathLst>
            </a:custGeom>
            <a:pattFill>
              <a:fgClr>
                <a:schemeClr val="accent4"/>
              </a:fgClr>
              <a:bgClr>
                <a:schemeClr val="accent4"/>
              </a:bgClr>
            </a:pattFill>
            <a:ln>
              <a:solidFill>
                <a:schemeClr val="accent3">
                  <a:lumMod val="75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9" name="General_Border_3">
            <a:extLst>
              <a:ext uri="{FF2B5EF4-FFF2-40B4-BE49-F238E27FC236}">
                <a16:creationId xmlns:a16="http://schemas.microsoft.com/office/drawing/2014/main" id="{8420C398-3234-331E-326F-787E8B5513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964965" y="1876251"/>
            <a:ext cx="635000" cy="635001"/>
            <a:chOff x="373" y="1933"/>
            <a:chExt cx="341" cy="340"/>
          </a:xfrm>
          <a:solidFill>
            <a:schemeClr val="accent1"/>
          </a:solidFill>
        </p:grpSpPr>
        <p:sp>
          <p:nvSpPr>
            <p:cNvPr id="10" name="Freeform 152">
              <a:extLst>
                <a:ext uri="{FF2B5EF4-FFF2-40B4-BE49-F238E27FC236}">
                  <a16:creationId xmlns:a16="http://schemas.microsoft.com/office/drawing/2014/main" id="{7B619B2A-7A23-3ABA-123F-7CAF4780D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" y="2031"/>
              <a:ext cx="207" cy="157"/>
            </a:xfrm>
            <a:custGeom>
              <a:avLst/>
              <a:gdLst>
                <a:gd name="T0" fmla="*/ 307 w 311"/>
                <a:gd name="T1" fmla="*/ 4 h 236"/>
                <a:gd name="T2" fmla="*/ 292 w 311"/>
                <a:gd name="T3" fmla="*/ 4 h 236"/>
                <a:gd name="T4" fmla="*/ 86 w 311"/>
                <a:gd name="T5" fmla="*/ 210 h 236"/>
                <a:gd name="T6" fmla="*/ 19 w 311"/>
                <a:gd name="T7" fmla="*/ 143 h 236"/>
                <a:gd name="T8" fmla="*/ 4 w 311"/>
                <a:gd name="T9" fmla="*/ 143 h 236"/>
                <a:gd name="T10" fmla="*/ 4 w 311"/>
                <a:gd name="T11" fmla="*/ 158 h 236"/>
                <a:gd name="T12" fmla="*/ 78 w 311"/>
                <a:gd name="T13" fmla="*/ 233 h 236"/>
                <a:gd name="T14" fmla="*/ 86 w 311"/>
                <a:gd name="T15" fmla="*/ 236 h 236"/>
                <a:gd name="T16" fmla="*/ 94 w 311"/>
                <a:gd name="T17" fmla="*/ 233 h 236"/>
                <a:gd name="T18" fmla="*/ 307 w 311"/>
                <a:gd name="T19" fmla="*/ 19 h 236"/>
                <a:gd name="T20" fmla="*/ 307 w 311"/>
                <a:gd name="T21" fmla="*/ 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1" h="236">
                  <a:moveTo>
                    <a:pt x="307" y="4"/>
                  </a:moveTo>
                  <a:cubicBezTo>
                    <a:pt x="303" y="0"/>
                    <a:pt x="296" y="0"/>
                    <a:pt x="292" y="4"/>
                  </a:cubicBezTo>
                  <a:cubicBezTo>
                    <a:pt x="86" y="210"/>
                    <a:pt x="86" y="210"/>
                    <a:pt x="86" y="210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5" y="139"/>
                    <a:pt x="8" y="139"/>
                    <a:pt x="4" y="143"/>
                  </a:cubicBezTo>
                  <a:cubicBezTo>
                    <a:pt x="0" y="147"/>
                    <a:pt x="0" y="154"/>
                    <a:pt x="4" y="158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81" y="235"/>
                    <a:pt x="83" y="236"/>
                    <a:pt x="86" y="236"/>
                  </a:cubicBezTo>
                  <a:cubicBezTo>
                    <a:pt x="89" y="236"/>
                    <a:pt x="91" y="235"/>
                    <a:pt x="94" y="233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11" y="15"/>
                    <a:pt x="311" y="8"/>
                    <a:pt x="307" y="4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60000"/>
                  <a:lumOff val="4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2" name="Freeform 153">
              <a:extLst>
                <a:ext uri="{FF2B5EF4-FFF2-40B4-BE49-F238E27FC236}">
                  <a16:creationId xmlns:a16="http://schemas.microsoft.com/office/drawing/2014/main" id="{91C68358-A246-DC47-D551-B63464F51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" y="193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60000"/>
                  <a:lumOff val="4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14" name="Chevron 140">
            <a:extLst>
              <a:ext uri="{FF2B5EF4-FFF2-40B4-BE49-F238E27FC236}">
                <a16:creationId xmlns:a16="http://schemas.microsoft.com/office/drawing/2014/main" id="{49BC5804-B70A-1B1B-D4F7-EE5A6393E46B}"/>
              </a:ext>
            </a:extLst>
          </p:cNvPr>
          <p:cNvSpPr/>
          <p:nvPr/>
        </p:nvSpPr>
        <p:spPr bwMode="gray">
          <a:xfrm>
            <a:off x="7787654" y="2583954"/>
            <a:ext cx="730363" cy="1690092"/>
          </a:xfrm>
          <a:prstGeom prst="chevron">
            <a:avLst>
              <a:gd name="adj" fmla="val 52469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5" name="Chevron 140">
            <a:extLst>
              <a:ext uri="{FF2B5EF4-FFF2-40B4-BE49-F238E27FC236}">
                <a16:creationId xmlns:a16="http://schemas.microsoft.com/office/drawing/2014/main" id="{C5FC8382-F1E8-D7DD-577E-A6C644F4CC26}"/>
              </a:ext>
            </a:extLst>
          </p:cNvPr>
          <p:cNvSpPr/>
          <p:nvPr/>
        </p:nvSpPr>
        <p:spPr bwMode="gray">
          <a:xfrm>
            <a:off x="3673983" y="2583954"/>
            <a:ext cx="730363" cy="1690092"/>
          </a:xfrm>
          <a:prstGeom prst="chevron">
            <a:avLst>
              <a:gd name="adj" fmla="val 52469"/>
            </a:avLst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8FE0F41-FD5F-CE60-3A21-D06968A5C8BE}"/>
              </a:ext>
            </a:extLst>
          </p:cNvPr>
          <p:cNvSpPr txBox="1">
            <a:spLocks/>
          </p:cNvSpPr>
          <p:nvPr/>
        </p:nvSpPr>
        <p:spPr>
          <a:xfrm>
            <a:off x="499310" y="438970"/>
            <a:ext cx="11188700" cy="334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/>
              <a:t>Recommendati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BCC94C1-A70D-6821-9470-E9F36B6D1FAA}"/>
              </a:ext>
            </a:extLst>
          </p:cNvPr>
          <p:cNvSpPr txBox="1">
            <a:spLocks/>
          </p:cNvSpPr>
          <p:nvPr/>
        </p:nvSpPr>
        <p:spPr>
          <a:xfrm>
            <a:off x="496285" y="719038"/>
            <a:ext cx="11188700" cy="3341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rgbClr val="575757"/>
                </a:solidFill>
              </a:rPr>
              <a:t>Random Forest Model is the most optimal choice for Toyota in predicting machine failur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2F3EC7-C6C8-AE7A-B5E8-AC7913A3ED4A}"/>
              </a:ext>
            </a:extLst>
          </p:cNvPr>
          <p:cNvSpPr txBox="1"/>
          <p:nvPr/>
        </p:nvSpPr>
        <p:spPr>
          <a:xfrm>
            <a:off x="5034709" y="2837816"/>
            <a:ext cx="2361002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Best accuracy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F1 scor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Solid precision and recall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>
                <a:solidFill>
                  <a:srgbClr val="313131"/>
                </a:solidFill>
              </a:rPr>
              <a:t> 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>
              <a:solidFill>
                <a:srgbClr val="31313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D51B20-83D9-E0D1-2DAB-AD0CD452260D}"/>
              </a:ext>
            </a:extLst>
          </p:cNvPr>
          <p:cNvSpPr txBox="1"/>
          <p:nvPr/>
        </p:nvSpPr>
        <p:spPr>
          <a:xfrm>
            <a:off x="793215" y="2688370"/>
            <a:ext cx="2310562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/>
              <a:t>Increased downtim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/>
              <a:t>Higher reactive maintenance costs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/>
              <a:t>Reduced operational performance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/>
              <a:t>Decrease in product quality and brand reputation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8FCA09-EDFA-E4EF-F5AB-7990B157F673}"/>
              </a:ext>
            </a:extLst>
          </p:cNvPr>
          <p:cNvSpPr txBox="1"/>
          <p:nvPr/>
        </p:nvSpPr>
        <p:spPr>
          <a:xfrm>
            <a:off x="9188068" y="2720974"/>
            <a:ext cx="2321314" cy="26007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Decrease downtim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Enhanced operational performance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Reduce maintenance cost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Increase product quality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/>
              <a:t>Protect brand reputation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1400"/>
          </a:p>
          <a:p>
            <a:pPr>
              <a:spcBef>
                <a:spcPts val="600"/>
              </a:spcBef>
              <a:buSzPct val="100000"/>
            </a:pPr>
            <a:r>
              <a:rPr lang="en-US">
                <a:solidFill>
                  <a:srgbClr val="313131"/>
                </a:solidFill>
              </a:rPr>
              <a:t> 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24937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9108-Presentation_16x9_Timesaver_PPT_Jan2022 (1).pptx" id="{6BF7DA49-D6F5-4F19-AAC6-7DC45F3A1CD9}" vid="{84C4D3F8-1E44-46A9-99C4-7045F60941A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36DD62AFDD9447B289FA6B85084AEC" ma:contentTypeVersion="3" ma:contentTypeDescription="Create a new document." ma:contentTypeScope="" ma:versionID="9baf73fd6f08a94e93df47dc002aad18">
  <xsd:schema xmlns:xsd="http://www.w3.org/2001/XMLSchema" xmlns:xs="http://www.w3.org/2001/XMLSchema" xmlns:p="http://schemas.microsoft.com/office/2006/metadata/properties" xmlns:ns3="92ec4a96-f5f8-412c-ac69-45c00da99bda" targetNamespace="http://schemas.microsoft.com/office/2006/metadata/properties" ma:root="true" ma:fieldsID="db919dfeb50a8bcd49582ba432687880" ns3:_="">
    <xsd:import namespace="92ec4a96-f5f8-412c-ac69-45c00da99bd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c4a96-f5f8-412c-ac69-45c00da99b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427AF54-5EC3-4619-B1B3-718534EA0704}">
  <ds:schemaRefs>
    <ds:schemaRef ds:uri="92ec4a96-f5f8-412c-ac69-45c00da99bd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2E6DFFC-58CB-4DFC-930F-80369EAC19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1465C7-4DEE-4B1D-ABE1-1339B9435796}">
  <ds:schemaRefs>
    <ds:schemaRef ds:uri="92ec4a96-f5f8-412c-ac69-45c00da99bd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0</TotalTime>
  <Words>899</Words>
  <Application>Microsoft Office PowerPoint</Application>
  <PresentationFormat>Widescreen</PresentationFormat>
  <Paragraphs>243</Paragraphs>
  <Slides>21</Slides>
  <Notes>19</Notes>
  <HiddenSlides>1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-apple-system</vt:lpstr>
      <vt:lpstr>Arial</vt:lpstr>
      <vt:lpstr>Calibri</vt:lpstr>
      <vt:lpstr>Calibri Light</vt:lpstr>
      <vt:lpstr>Open Sans</vt:lpstr>
      <vt:lpstr>Verdana</vt:lpstr>
      <vt:lpstr>Wingdings 2</vt:lpstr>
      <vt:lpstr>Deloitte Brand Theme</vt:lpstr>
      <vt:lpstr>Custom Design</vt:lpstr>
      <vt:lpstr>1_Deloitte Brand Theme</vt:lpstr>
      <vt:lpstr>think-cell Slide</vt:lpstr>
      <vt:lpstr>Optimal Machine Failure Prediction Model For Toyota</vt:lpstr>
      <vt:lpstr>Agenda</vt:lpstr>
      <vt:lpstr>Data Understanding</vt:lpstr>
      <vt:lpstr>Motivations, Challenges, and Pre-proces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or Considering Our Recommendation</vt:lpstr>
      <vt:lpstr>Conclusion</vt:lpstr>
      <vt:lpstr>PowerPoint Presentation</vt:lpstr>
      <vt:lpstr>PowerPoint Presentation</vt:lpstr>
      <vt:lpstr>PowerPoint Presentation</vt:lpstr>
      <vt:lpstr>Progressive wheel x8</vt:lpstr>
      <vt:lpstr>Next Steps </vt:lpstr>
      <vt:lpstr>Data Analysis</vt:lpstr>
      <vt:lpstr>Data Analysis</vt:lpstr>
      <vt:lpstr>Data Analysis</vt:lpstr>
      <vt:lpstr>Data Analysis</vt:lpstr>
      <vt:lpstr>Recomme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e-Robinson, Alexandria</dc:creator>
  <cp:lastModifiedBy>Akinlabi, Tolulope Elijah</cp:lastModifiedBy>
  <cp:revision>1</cp:revision>
  <dcterms:created xsi:type="dcterms:W3CDTF">2023-08-16T15:11:53Z</dcterms:created>
  <dcterms:modified xsi:type="dcterms:W3CDTF">2023-12-14T21:5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8-16T15:11:5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a76e1a63-8e1a-4c95-aae5-d840ace116ac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5E36DD62AFDD9447B289FA6B85084AEC</vt:lpwstr>
  </property>
</Properties>
</file>